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0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2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3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4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6" r:id="rId2"/>
    <p:sldId id="261" r:id="rId3"/>
    <p:sldId id="268" r:id="rId4"/>
    <p:sldId id="264" r:id="rId5"/>
    <p:sldId id="262" r:id="rId6"/>
    <p:sldId id="263" r:id="rId7"/>
    <p:sldId id="270" r:id="rId8"/>
    <p:sldId id="271" r:id="rId9"/>
    <p:sldId id="272" r:id="rId10"/>
    <p:sldId id="273" r:id="rId11"/>
    <p:sldId id="274" r:id="rId12"/>
    <p:sldId id="265" r:id="rId13"/>
    <p:sldId id="266" r:id="rId14"/>
    <p:sldId id="275" r:id="rId15"/>
    <p:sldId id="267" r:id="rId16"/>
    <p:sldId id="269" r:id="rId17"/>
    <p:sldId id="260" r:id="rId18"/>
  </p:sldIdLst>
  <p:sldSz cx="9144000" cy="6858000" type="screen4x3"/>
  <p:notesSz cx="6858000" cy="9144000"/>
  <p:custDataLst>
    <p:tags r:id="rId20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3E92"/>
    <a:srgbClr val="000000"/>
    <a:srgbClr val="04BEFE"/>
    <a:srgbClr val="4481EB"/>
    <a:srgbClr val="1F1F1F"/>
    <a:srgbClr val="246AE8"/>
    <a:srgbClr val="01ACE9"/>
    <a:srgbClr val="0C2E6A"/>
    <a:srgbClr val="1E3C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53" autoAdjust="0"/>
    <p:restoredTop sz="92884" autoAdjust="0"/>
  </p:normalViewPr>
  <p:slideViewPr>
    <p:cSldViewPr>
      <p:cViewPr varScale="1">
        <p:scale>
          <a:sx n="67" d="100"/>
          <a:sy n="67" d="100"/>
        </p:scale>
        <p:origin x="58" y="32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C9AE2C-7F25-4931-BAAF-0F4B341E3FA3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0710D5-B300-403A-A878-5936AC74D2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32548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훈련 반복 루프는 다음과 같은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역전파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 알고리즘을 통해 반복되고 훈련됩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072228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b="0" i="0" dirty="0">
                <a:solidFill>
                  <a:srgbClr val="424242"/>
                </a:solidFill>
                <a:effectLst/>
                <a:latin typeface="gothic_l"/>
              </a:rPr>
              <a:t> 이 코드는 모멘텀을 두 번 반복하는 알고리즘인 </a:t>
            </a:r>
            <a:r>
              <a:rPr lang="ko-KR" altLang="en-US" b="0" i="0" dirty="0" err="1">
                <a:solidFill>
                  <a:srgbClr val="424242"/>
                </a:solidFill>
                <a:effectLst/>
                <a:latin typeface="gothic_l"/>
              </a:rPr>
              <a:t>네스테로프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gothic_l"/>
              </a:rPr>
              <a:t> 모멘텀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gothic_l"/>
              </a:rPr>
              <a:t>(</a:t>
            </a:r>
            <a:r>
              <a:rPr lang="en-US" altLang="ko-KR" b="0" i="0" dirty="0" err="1">
                <a:solidFill>
                  <a:srgbClr val="424242"/>
                </a:solidFill>
                <a:effectLst/>
                <a:latin typeface="gothic_l"/>
              </a:rPr>
              <a:t>Nesterov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gothic_l"/>
              </a:rPr>
              <a:t> Momentum)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gothic_l"/>
              </a:rPr>
              <a:t>을 구현한 것입니다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gothic_l"/>
              </a:rPr>
              <a:t>. 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gothic_l"/>
              </a:rPr>
              <a:t>기본 모멘텀은 여섯 번째 줄을 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code"/>
              </a:rPr>
              <a:t>w = w + velocity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gothic_l"/>
              </a:rPr>
              <a:t>처럼 바꾸어 주면 됩니다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gothic_l"/>
              </a:rPr>
              <a:t>. 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gothic_l"/>
              </a:rPr>
              <a:t>모멘텀이나 </a:t>
            </a:r>
            <a:r>
              <a:rPr lang="ko-KR" altLang="en-US" b="0" i="0" dirty="0" err="1">
                <a:solidFill>
                  <a:srgbClr val="424242"/>
                </a:solidFill>
                <a:effectLst/>
                <a:latin typeface="gothic_l"/>
              </a:rPr>
              <a:t>네스테로프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gothic_l"/>
              </a:rPr>
              <a:t> 모멘텀 방식을 사용하려면 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code"/>
              </a:rPr>
              <a:t>from </a:t>
            </a:r>
            <a:r>
              <a:rPr lang="en-US" altLang="ko-KR" b="0" i="0" dirty="0" err="1">
                <a:solidFill>
                  <a:srgbClr val="424242"/>
                </a:solidFill>
                <a:effectLst/>
                <a:latin typeface="code"/>
              </a:rPr>
              <a:t>keras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code"/>
              </a:rPr>
              <a:t> import optimizers; </a:t>
            </a:r>
            <a:r>
              <a:rPr lang="en-US" altLang="ko-KR" b="0" i="0" dirty="0" err="1">
                <a:solidFill>
                  <a:srgbClr val="424242"/>
                </a:solidFill>
                <a:effectLst/>
                <a:latin typeface="code"/>
              </a:rPr>
              <a:t>sgd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code"/>
              </a:rPr>
              <a:t> = </a:t>
            </a:r>
            <a:r>
              <a:rPr lang="en-US" altLang="ko-KR" b="0" i="0" dirty="0" err="1">
                <a:solidFill>
                  <a:srgbClr val="424242"/>
                </a:solidFill>
                <a:effectLst/>
                <a:latin typeface="code"/>
              </a:rPr>
              <a:t>optimizers.SGD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code"/>
              </a:rPr>
              <a:t>(</a:t>
            </a:r>
            <a:r>
              <a:rPr lang="en-US" altLang="ko-KR" b="0" i="0" dirty="0" err="1">
                <a:solidFill>
                  <a:srgbClr val="424242"/>
                </a:solidFill>
                <a:effectLst/>
                <a:latin typeface="code"/>
              </a:rPr>
              <a:t>lr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code"/>
              </a:rPr>
              <a:t>=0.01, momentum=0.9, </a:t>
            </a:r>
            <a:r>
              <a:rPr lang="en-US" altLang="ko-KR" b="0" i="0" dirty="0" err="1">
                <a:solidFill>
                  <a:srgbClr val="424242"/>
                </a:solidFill>
                <a:effectLst/>
                <a:latin typeface="code"/>
              </a:rPr>
              <a:t>nesterov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code"/>
              </a:rPr>
              <a:t>=True); </a:t>
            </a:r>
            <a:r>
              <a:rPr lang="en-US" altLang="ko-KR" b="0" i="0" dirty="0" err="1">
                <a:solidFill>
                  <a:srgbClr val="424242"/>
                </a:solidFill>
                <a:effectLst/>
                <a:latin typeface="code"/>
              </a:rPr>
              <a:t>network.compile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code"/>
              </a:rPr>
              <a:t>(optimizer=</a:t>
            </a:r>
            <a:r>
              <a:rPr lang="en-US" altLang="ko-KR" b="0" i="0" dirty="0" err="1">
                <a:solidFill>
                  <a:srgbClr val="424242"/>
                </a:solidFill>
                <a:effectLst/>
                <a:latin typeface="code"/>
              </a:rPr>
              <a:t>sgd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code"/>
              </a:rPr>
              <a:t>, …)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gothic_l"/>
              </a:rPr>
              <a:t>처럼 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gothic_l"/>
              </a:rPr>
              <a:t>SGD </a:t>
            </a:r>
            <a:r>
              <a:rPr lang="ko-KR" altLang="en-US" b="0" i="0" dirty="0" err="1">
                <a:solidFill>
                  <a:srgbClr val="424242"/>
                </a:solidFill>
                <a:effectLst/>
                <a:latin typeface="gothic_l"/>
              </a:rPr>
              <a:t>옵티마이저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gothic_l"/>
              </a:rPr>
              <a:t> 객체를 생성하여 직접 전달해야 합니다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gothic_l"/>
              </a:rPr>
              <a:t>. 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gothic_l"/>
              </a:rPr>
              <a:t>본문과는 달리 일반적으로 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code"/>
              </a:rPr>
              <a:t>momentum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gothic_l"/>
              </a:rPr>
              <a:t> 값은 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gothic_l"/>
              </a:rPr>
              <a:t>0.9 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gothic_l"/>
              </a:rPr>
              <a:t>정도를 많이 사용합니다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gothic_l"/>
              </a:rPr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65631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연쇄 법칙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(chain rule)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이라 불리는 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th-italic"/>
              </a:rPr>
              <a:t>f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in"/>
              </a:rPr>
              <a:t>(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th-italic"/>
              </a:rPr>
              <a:t>g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in"/>
              </a:rPr>
              <a:t>(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th-italic"/>
              </a:rPr>
              <a:t>x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in"/>
              </a:rPr>
              <a:t>))′=</a:t>
            </a:r>
            <a:r>
              <a:rPr lang="en-US" altLang="ko-KR" b="0" i="0" u="none" strike="noStrike" dirty="0" err="1">
                <a:solidFill>
                  <a:srgbClr val="494E52"/>
                </a:solidFill>
                <a:effectLst/>
                <a:latin typeface="MathJax_Math-italic"/>
              </a:rPr>
              <a:t>f</a:t>
            </a:r>
            <a:r>
              <a:rPr lang="en-US" altLang="ko-KR" b="0" i="0" u="none" strike="noStrike" dirty="0" err="1">
                <a:solidFill>
                  <a:srgbClr val="494E52"/>
                </a:solidFill>
                <a:effectLst/>
                <a:latin typeface="MathJax_Main"/>
              </a:rPr>
              <a:t>′</a:t>
            </a:r>
            <a:r>
              <a:rPr lang="en-US" altLang="ko-KR" b="0" i="0" u="none" strike="noStrike" dirty="0" err="1">
                <a:solidFill>
                  <a:srgbClr val="494E52"/>
                </a:solidFill>
                <a:effectLst/>
                <a:latin typeface="MathJax_Math-italic"/>
              </a:rPr>
              <a:t>g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in"/>
              </a:rPr>
              <a:t>(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th-italic"/>
              </a:rPr>
              <a:t>x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in"/>
              </a:rPr>
              <a:t>)∗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th-italic"/>
              </a:rPr>
              <a:t>g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in"/>
              </a:rPr>
              <a:t>′(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th-italic"/>
              </a:rPr>
              <a:t>x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in"/>
              </a:rPr>
              <a:t>)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-apple-system"/>
              </a:rPr>
              <a:t>f(g(x))′=</a:t>
            </a:r>
            <a:r>
              <a:rPr lang="en-US" altLang="ko-KR" b="0" i="0" u="none" strike="noStrike" dirty="0" err="1">
                <a:solidFill>
                  <a:srgbClr val="494E52"/>
                </a:solidFill>
                <a:effectLst/>
                <a:latin typeface="-apple-system"/>
              </a:rPr>
              <a:t>f′g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-apple-system"/>
              </a:rPr>
              <a:t>(x)∗g′(x)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 를 이용하여 많은 층의 값들을 경사 하강법으로 연산할 수 있습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</a:p>
          <a:p>
            <a:pPr algn="l"/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현재는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텐서플로처럼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 기호 미분이 가능한 최신 프레임워크를 활용하여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미분값을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 구하니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,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역전파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 알고리즘을 직접 구현하고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역전파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 공식을 유도하는 등의 시간 및 노력의 소모가 필요 없습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이런게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 머신 러닝의 대중화를 만든 것이겠죠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?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713127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훈련 데이터에서 수행되는 각 반복을 </a:t>
            </a:r>
            <a:r>
              <a:rPr lang="ko-KR" altLang="en-US" b="1" i="0" dirty="0" err="1">
                <a:solidFill>
                  <a:srgbClr val="494E52"/>
                </a:solidFill>
                <a:effectLst/>
                <a:latin typeface="-apple-system"/>
              </a:rPr>
              <a:t>에포크</a:t>
            </a:r>
            <a:r>
              <a:rPr lang="en-US" altLang="ko-KR" b="1" i="0" dirty="0">
                <a:solidFill>
                  <a:srgbClr val="494E52"/>
                </a:solidFill>
                <a:effectLst/>
                <a:latin typeface="-apple-system"/>
              </a:rPr>
              <a:t>(epoch)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 라고 합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656830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훈련 데이터에서 수행되는 각 반복을 </a:t>
            </a:r>
            <a:r>
              <a:rPr lang="ko-KR" altLang="en-US" b="1" i="0" dirty="0" err="1">
                <a:solidFill>
                  <a:srgbClr val="494E52"/>
                </a:solidFill>
                <a:effectLst/>
                <a:latin typeface="-apple-system"/>
              </a:rPr>
              <a:t>에포크</a:t>
            </a:r>
            <a:r>
              <a:rPr lang="en-US" altLang="ko-KR" b="1" i="0" dirty="0">
                <a:solidFill>
                  <a:srgbClr val="494E52"/>
                </a:solidFill>
                <a:effectLst/>
                <a:latin typeface="-apple-system"/>
              </a:rPr>
              <a:t>(epoch)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 라고 합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040134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훈련 반복 루프는 다음과 같은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역전파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 알고리즘을 통해 반복되고 훈련됩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20539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151786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429726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가장 중요한 것은 결과값에 대한 함수 값의 기울기입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 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엡실론 만큼 변화에 대한 결과 값의 변화를 찾기 위한 과정입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</a:p>
          <a:p>
            <a:pPr algn="l"/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즉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, 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데이터를 아주 작게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변화시켰을때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 예상되는 데이터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변화값을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 도함수로 구하는 것입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 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그렇다면 원하는 방향으로 수치를 변경할 수 있습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447079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위의 변화율을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텐서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 연산에 적용한 것이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그래디언트입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 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다차원 입력인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텐서를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 입력 받는 함수에 변화율 개념을 확장시킨 것 입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 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값에 따라 너무 크게 변화하지 않게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하기위하여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 스케일링 비율인 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step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값을 잘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설정해야합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54354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미분 가능한 함수가 주어지면 이론적으로 함수의 최솟값을 해석적으로 구할 수 있습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 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변화율이 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0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이 되는 지점을 향해 계속 조금씩 나아가면 됩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 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모멘텀을 이용하여 더 효율적으로 계산할 수 있습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498050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463461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311030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8561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066494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043739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491327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115653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34900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68798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867545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71212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67027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926541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587944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873192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C37D06-8E03-4871-9D44-9E5A3961E2C4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72040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0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2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4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17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15516" y="2655933"/>
            <a:ext cx="871296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3400" dirty="0">
                <a:latin typeface="Sandoll 고딕Neo2유니 06 Bd" pitchFamily="34" charset="-127"/>
                <a:ea typeface="Sandoll 고딕Neo2유니 06 Bd" pitchFamily="34" charset="-127"/>
              </a:rPr>
              <a:t>2.4</a:t>
            </a:r>
            <a:r>
              <a:rPr lang="ko-KR" altLang="en-US" sz="3400" dirty="0">
                <a:latin typeface="Sandoll 고딕Neo2유니 06 Bd" pitchFamily="34" charset="-127"/>
                <a:ea typeface="Sandoll 고딕Neo2유니 06 Bd" pitchFamily="34" charset="-127"/>
              </a:rPr>
              <a:t> 신경망의 엔진</a:t>
            </a:r>
            <a:r>
              <a:rPr lang="en-US" altLang="ko-KR" sz="34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3400" dirty="0" err="1">
                <a:latin typeface="Sandoll 고딕Neo2유니 06 Bd" pitchFamily="34" charset="-127"/>
                <a:ea typeface="Sandoll 고딕Neo2유니 06 Bd" pitchFamily="34" charset="-127"/>
              </a:rPr>
              <a:t>그래디언트</a:t>
            </a:r>
            <a:r>
              <a:rPr lang="ko-KR" altLang="en-US" sz="3400" dirty="0">
                <a:latin typeface="Sandoll 고딕Neo2유니 06 Bd" pitchFamily="34" charset="-127"/>
                <a:ea typeface="Sandoll 고딕Neo2유니 06 Bd" pitchFamily="34" charset="-127"/>
              </a:rPr>
              <a:t> 기반 최적화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467544" y="3444994"/>
            <a:ext cx="8064896" cy="504056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andoll 고딕Neo1유니코드 03 Lt" pitchFamily="34" charset="-127"/>
              <a:ea typeface="Sandoll 고딕Neo1유니코드 03 Lt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91165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4.3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확률적 경사 </a:t>
            </a:r>
            <a:r>
              <a:rPr lang="ko-KR" altLang="en-US" sz="3000" dirty="0" err="1">
                <a:latin typeface="Sandoll 고딕Neo2유니 06 Bd" pitchFamily="34" charset="-127"/>
                <a:ea typeface="Sandoll 고딕Neo2유니 06 Bd" pitchFamily="34" charset="-127"/>
              </a:rPr>
              <a:t>하강법</a:t>
            </a:r>
            <a:endParaRPr lang="ko-KR" altLang="en-US" sz="3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2198498D-757C-4008-843A-70348803A0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8092" y="1262237"/>
            <a:ext cx="4215916" cy="296431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FFAAA7A-2F8A-4246-A3A3-FE459BC6ED1E}"/>
              </a:ext>
            </a:extLst>
          </p:cNvPr>
          <p:cNvSpPr txBox="1"/>
          <p:nvPr/>
        </p:nvSpPr>
        <p:spPr>
          <a:xfrm>
            <a:off x="443364" y="4426288"/>
            <a:ext cx="8208912" cy="7471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500" b="0" i="0" dirty="0">
                <a:solidFill>
                  <a:srgbClr val="424242"/>
                </a:solidFill>
                <a:effectLst/>
                <a:latin typeface="serif_l"/>
              </a:rPr>
              <a:t>지역 최솟값에 도달하는 파라미터 값에서는 </a:t>
            </a:r>
            <a:endParaRPr lang="en-US" altLang="ko-KR" sz="1500" b="0" i="0" dirty="0">
              <a:solidFill>
                <a:srgbClr val="424242"/>
              </a:solidFill>
              <a:effectLst/>
              <a:latin typeface="serif_l"/>
            </a:endParaRPr>
          </a:p>
          <a:p>
            <a:pPr>
              <a:lnSpc>
                <a:spcPct val="150000"/>
              </a:lnSpc>
            </a:pPr>
            <a:r>
              <a:rPr lang="ko-KR" altLang="en-US" sz="1500" b="0" dirty="0">
                <a:solidFill>
                  <a:srgbClr val="424242"/>
                </a:solidFill>
                <a:effectLst/>
                <a:latin typeface="serif_l"/>
              </a:rPr>
              <a:t>왼쪽으로 이동</a:t>
            </a:r>
            <a:r>
              <a:rPr lang="ko-KR" altLang="en-US" sz="1500" b="0" i="0" dirty="0">
                <a:solidFill>
                  <a:srgbClr val="424242"/>
                </a:solidFill>
                <a:effectLst/>
                <a:latin typeface="serif_l"/>
              </a:rPr>
              <a:t>해도 손실이 증가하고</a:t>
            </a:r>
            <a:r>
              <a:rPr lang="en-US" altLang="ko-KR" sz="1500" b="0" i="0" dirty="0">
                <a:solidFill>
                  <a:srgbClr val="424242"/>
                </a:solidFill>
                <a:effectLst/>
                <a:latin typeface="serif_l"/>
              </a:rPr>
              <a:t>, </a:t>
            </a:r>
            <a:r>
              <a:rPr lang="ko-KR" altLang="en-US" sz="1500" b="0" dirty="0">
                <a:solidFill>
                  <a:srgbClr val="424242"/>
                </a:solidFill>
                <a:effectLst/>
                <a:latin typeface="serif_l"/>
              </a:rPr>
              <a:t>오른쪽으로 이동</a:t>
            </a:r>
            <a:r>
              <a:rPr lang="ko-KR" altLang="en-US" sz="1500" b="0" i="0" dirty="0">
                <a:solidFill>
                  <a:srgbClr val="424242"/>
                </a:solidFill>
                <a:effectLst/>
                <a:latin typeface="serif_l"/>
              </a:rPr>
              <a:t>해도 손실이 증가한다</a:t>
            </a:r>
            <a:r>
              <a:rPr lang="en-US" altLang="ko-KR" sz="1500" b="0" i="0" dirty="0">
                <a:solidFill>
                  <a:srgbClr val="424242"/>
                </a:solidFill>
                <a:effectLst/>
                <a:latin typeface="serif_l"/>
              </a:rPr>
              <a:t>.</a:t>
            </a:r>
            <a:endParaRPr lang="ko-KR" altLang="en-US" sz="15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C8E77AAC-8E68-4A0C-85B7-C24D43CA35B7}"/>
                  </a:ext>
                </a:extLst>
              </p:cNvPr>
              <p:cNvSpPr txBox="1"/>
              <p:nvPr/>
            </p:nvSpPr>
            <p:spPr>
              <a:xfrm>
                <a:off x="418805" y="5371241"/>
                <a:ext cx="8208912" cy="8781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ko-KR" altLang="en-US" b="0" i="1" smtClean="0">
                        <a:solidFill>
                          <a:srgbClr val="424242"/>
                        </a:solidFill>
                        <a:effectLst/>
                        <a:latin typeface="Cambria Math" panose="02040503050406030204" pitchFamily="18" charset="0"/>
                      </a:rPr>
                      <m:t>∙</m:t>
                    </m:r>
                    <m:r>
                      <a:rPr lang="en-US" altLang="ko-KR" b="0" i="1" smtClean="0">
                        <a:solidFill>
                          <a:srgbClr val="424242"/>
                        </a:solidFill>
                        <a:effectLst/>
                        <a:latin typeface="Cambria Math" panose="02040503050406030204" pitchFamily="18" charset="0"/>
                      </a:rPr>
                      <m:t>  </m:t>
                    </m:r>
                  </m:oMath>
                </a14:m>
                <a:r>
                  <a:rPr lang="ko-KR" altLang="en-US" b="0" i="0" dirty="0">
                    <a:solidFill>
                      <a:srgbClr val="424242"/>
                    </a:solidFill>
                    <a:effectLst/>
                    <a:latin typeface="serif_l"/>
                  </a:rPr>
                  <a:t>대상 파라미터가 작은 </a:t>
                </a:r>
                <a:r>
                  <a:rPr lang="ko-KR" altLang="en-US" b="0" i="0" dirty="0" err="1">
                    <a:solidFill>
                      <a:srgbClr val="424242"/>
                    </a:solidFill>
                    <a:effectLst/>
                    <a:latin typeface="serif_l"/>
                  </a:rPr>
                  <a:t>학습률을</a:t>
                </a:r>
                <a:r>
                  <a:rPr lang="ko-KR" altLang="en-US" b="0" i="0" dirty="0">
                    <a:solidFill>
                      <a:srgbClr val="424242"/>
                    </a:solidFill>
                    <a:effectLst/>
                    <a:latin typeface="serif_l"/>
                  </a:rPr>
                  <a:t> 가진 </a:t>
                </a:r>
                <a:r>
                  <a:rPr lang="en-US" altLang="ko-KR" b="0" i="0" dirty="0">
                    <a:solidFill>
                      <a:srgbClr val="424242"/>
                    </a:solidFill>
                    <a:effectLst/>
                    <a:latin typeface="serif_l"/>
                  </a:rPr>
                  <a:t>SGD</a:t>
                </a:r>
                <a:r>
                  <a:rPr lang="ko-KR" altLang="en-US" b="0" i="0" dirty="0">
                    <a:solidFill>
                      <a:srgbClr val="424242"/>
                    </a:solidFill>
                    <a:effectLst/>
                    <a:latin typeface="serif_l"/>
                  </a:rPr>
                  <a:t>로 최적화되었다면 최적화 과정이 전역 최솟값으로 향하지 못하고 이 지역 최솟값에 갇히게 됩니다</a:t>
                </a:r>
                <a:r>
                  <a:rPr lang="en-US" altLang="ko-KR" b="0" i="0" dirty="0">
                    <a:solidFill>
                      <a:srgbClr val="424242"/>
                    </a:solidFill>
                    <a:effectLst/>
                    <a:latin typeface="serif_l"/>
                  </a:rPr>
                  <a:t>.</a:t>
                </a:r>
                <a:endParaRPr lang="ko-KR" altLang="en-US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C8E77AAC-8E68-4A0C-85B7-C24D43CA35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8805" y="5371241"/>
                <a:ext cx="8208912" cy="878126"/>
              </a:xfrm>
              <a:prstGeom prst="rect">
                <a:avLst/>
              </a:prstGeom>
              <a:blipFill>
                <a:blip r:embed="rId8"/>
                <a:stretch>
                  <a:fillRect l="-669" b="-10417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5977000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4.3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확률적 경사 </a:t>
            </a:r>
            <a:r>
              <a:rPr lang="ko-KR" altLang="en-US" sz="3000" dirty="0" err="1">
                <a:latin typeface="Sandoll 고딕Neo2유니 06 Bd" pitchFamily="34" charset="-127"/>
                <a:ea typeface="Sandoll 고딕Neo2유니 06 Bd" pitchFamily="34" charset="-127"/>
              </a:rPr>
              <a:t>하강법</a:t>
            </a:r>
            <a:endParaRPr lang="ko-KR" altLang="en-US" sz="3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3BB15A0E-4591-4B19-94F1-4A98001296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3017" y="3284984"/>
            <a:ext cx="8137965" cy="259081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7EDD886-8CEA-45AC-9D3C-F51B6F9603F1}"/>
              </a:ext>
            </a:extLst>
          </p:cNvPr>
          <p:cNvSpPr txBox="1"/>
          <p:nvPr/>
        </p:nvSpPr>
        <p:spPr>
          <a:xfrm>
            <a:off x="311231" y="1286716"/>
            <a:ext cx="8208912" cy="878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b="1" i="0" dirty="0">
                <a:solidFill>
                  <a:srgbClr val="424242"/>
                </a:solidFill>
                <a:effectLst/>
                <a:latin typeface="gothic_m"/>
              </a:rPr>
              <a:t>모멘텀</a:t>
            </a:r>
            <a:r>
              <a:rPr lang="en-US" altLang="ko-KR" b="0" i="0" dirty="0">
                <a:solidFill>
                  <a:srgbClr val="8B8B8B"/>
                </a:solidFill>
                <a:effectLst/>
                <a:latin typeface="serif_l"/>
              </a:rPr>
              <a:t>(momentum)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solidFill>
                  <a:srgbClr val="8B8B8B"/>
                </a:solidFill>
                <a:latin typeface="serif_l"/>
              </a:rPr>
              <a:t>: 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serif_l"/>
              </a:rPr>
              <a:t>SGD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serif_l"/>
              </a:rPr>
              <a:t>에 있는 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serif_l"/>
              </a:rPr>
              <a:t>2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serif_l"/>
              </a:rPr>
              <a:t>개의 문제점인 수렴 속도와 지역 최솟값을 해결</a:t>
            </a:r>
            <a:endParaRPr lang="ko-KR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48FD1C72-A456-4058-B129-61037FA922E6}"/>
                  </a:ext>
                </a:extLst>
              </p:cNvPr>
              <p:cNvSpPr txBox="1"/>
              <p:nvPr/>
            </p:nvSpPr>
            <p:spPr>
              <a:xfrm>
                <a:off x="323528" y="2241738"/>
                <a:ext cx="8245447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b="0" i="1" smtClean="0">
                        <a:solidFill>
                          <a:srgbClr val="424242"/>
                        </a:solidFill>
                        <a:effectLst/>
                        <a:latin typeface="Cambria Math" panose="02040503050406030204" pitchFamily="18" charset="0"/>
                      </a:rPr>
                      <m:t>∙ </m:t>
                    </m:r>
                  </m:oMath>
                </a14:m>
                <a:r>
                  <a:rPr lang="ko-KR" altLang="en-US" dirty="0"/>
                  <a:t> 모멘텀이 충분하면 갇히지 않고 전역 최솟값에 도달</a:t>
                </a:r>
                <a:endParaRPr lang="en-US" altLang="ko-KR" dirty="0"/>
              </a:p>
              <a:p>
                <a14:m>
                  <m:oMath xmlns:m="http://schemas.openxmlformats.org/officeDocument/2006/math">
                    <m:r>
                      <a:rPr lang="ko-KR" altLang="en-US" b="0" i="1" smtClean="0">
                        <a:solidFill>
                          <a:srgbClr val="424242"/>
                        </a:solidFill>
                        <a:effectLst/>
                        <a:latin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en-US" altLang="ko-KR" dirty="0"/>
                  <a:t> </a:t>
                </a:r>
                <a:r>
                  <a:rPr lang="ko-KR" altLang="en-US" dirty="0"/>
                  <a:t> 모멘텀은 현재 기울기와 현재 속도를 같이 고려하여 각 단계 진행</a:t>
                </a:r>
                <a:r>
                  <a:rPr lang="en-US" altLang="ko-KR" dirty="0"/>
                  <a:t> </a:t>
                </a:r>
                <a:endParaRPr lang="ko-KR" altLang="en-US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48FD1C72-A456-4058-B129-61037FA922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3528" y="2241738"/>
                <a:ext cx="8245447" cy="646331"/>
              </a:xfrm>
              <a:prstGeom prst="rect">
                <a:avLst/>
              </a:prstGeom>
              <a:blipFill>
                <a:blip r:embed="rId8"/>
                <a:stretch>
                  <a:fillRect t="-5660" b="-14151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816349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4.4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변화율 연결</a:t>
            </a:r>
            <a:r>
              <a:rPr lang="en-US" altLang="ko-KR" sz="30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3000" dirty="0" err="1">
                <a:latin typeface="Sandoll 고딕Neo2유니 06 Bd" pitchFamily="34" charset="-127"/>
                <a:ea typeface="Sandoll 고딕Neo2유니 06 Bd" pitchFamily="34" charset="-127"/>
              </a:rPr>
              <a:t>역전파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알고리즘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8963D9C9-7998-406A-810D-F75F09A7E7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6039" y="1988840"/>
            <a:ext cx="8748464" cy="22594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7610" tIns="158700" rIns="47610" bIns="15870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50" charset="-127"/>
                <a:ea typeface="code"/>
              </a:rPr>
              <a:t>f</a:t>
            </a:r>
            <a:r>
              <a:rPr kumimoji="0" lang="ko-KR" altLang="ko-KR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50" charset="-127"/>
                <a:ea typeface="code"/>
              </a:rPr>
              <a:t>(W1, W2, W3) = </a:t>
            </a:r>
            <a:r>
              <a:rPr kumimoji="0" lang="ko-KR" altLang="ko-KR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50" charset="-127"/>
                <a:ea typeface="code"/>
              </a:rPr>
              <a:t>a</a:t>
            </a:r>
            <a:r>
              <a:rPr kumimoji="0" lang="ko-KR" altLang="ko-KR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50" charset="-127"/>
                <a:ea typeface="code"/>
              </a:rPr>
              <a:t>(W1, </a:t>
            </a:r>
            <a:r>
              <a:rPr kumimoji="0" lang="ko-KR" altLang="ko-KR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50" charset="-127"/>
                <a:ea typeface="code"/>
              </a:rPr>
              <a:t>b</a:t>
            </a:r>
            <a:r>
              <a:rPr kumimoji="0" lang="ko-KR" altLang="ko-KR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pitchFamily="50" charset="-127"/>
                <a:ea typeface="code"/>
              </a:rPr>
              <a:t>(W2, c(W3)))</a:t>
            </a:r>
            <a:endParaRPr kumimoji="0" lang="en-US" altLang="ko-KR" sz="20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 Unicode MS" panose="020B0604020202020204" pitchFamily="50" charset="-127"/>
              <a:ea typeface="code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ko-KR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 Unicode MS" panose="020B0604020202020204" pitchFamily="50" charset="-127"/>
              <a:ea typeface="code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b="1" i="0" dirty="0">
                <a:solidFill>
                  <a:srgbClr val="424242"/>
                </a:solidFill>
                <a:effectLst/>
                <a:latin typeface="+mj-lt"/>
              </a:rPr>
              <a:t>연쇄 법칙</a:t>
            </a:r>
            <a:r>
              <a:rPr lang="en-US" altLang="ko-KR" b="0" i="0" dirty="0">
                <a:solidFill>
                  <a:srgbClr val="8B8B8B"/>
                </a:solidFill>
                <a:effectLst/>
                <a:latin typeface="+mj-lt"/>
              </a:rPr>
              <a:t>(chain rule)</a:t>
            </a:r>
            <a:r>
              <a:rPr lang="en-US" altLang="ko-KR" dirty="0">
                <a:solidFill>
                  <a:srgbClr val="424242"/>
                </a:solidFill>
                <a:latin typeface="+mj-lt"/>
              </a:rPr>
              <a:t> 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ko-KR" b="1" i="0" dirty="0">
                <a:solidFill>
                  <a:srgbClr val="424242"/>
                </a:solidFill>
                <a:effectLst/>
                <a:latin typeface="+mj-lt"/>
              </a:rPr>
              <a:t>-</a:t>
            </a:r>
            <a:r>
              <a:rPr lang="ko-KR" altLang="en-US" b="1" i="0" dirty="0">
                <a:solidFill>
                  <a:srgbClr val="424242"/>
                </a:solidFill>
                <a:effectLst/>
                <a:latin typeface="+mj-lt"/>
              </a:rPr>
              <a:t> </a:t>
            </a:r>
            <a:r>
              <a:rPr lang="en-US" altLang="ko-KR" b="1" i="0" dirty="0">
                <a:solidFill>
                  <a:srgbClr val="424242"/>
                </a:solidFill>
                <a:effectLst/>
                <a:latin typeface="+mj-lt"/>
              </a:rPr>
              <a:t>f(g(x))’ = f’(g(x)) * g’(x)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+mj-lt"/>
              </a:rPr>
              <a:t>를 사용하여 </a:t>
            </a:r>
            <a:r>
              <a:rPr lang="ko-KR" altLang="en-US" b="0" dirty="0">
                <a:solidFill>
                  <a:srgbClr val="424242"/>
                </a:solidFill>
                <a:effectLst/>
                <a:latin typeface="+mj-lt"/>
              </a:rPr>
              <a:t>유도될 수 있다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+mj-lt"/>
              </a:rPr>
              <a:t>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endParaRPr kumimoji="0" lang="en-US" altLang="ko-KR" u="none" strike="noStrike" cap="none" normalizeH="0" baseline="0" dirty="0">
              <a:ln>
                <a:noFill/>
              </a:ln>
              <a:solidFill>
                <a:srgbClr val="424242"/>
              </a:solidFill>
              <a:latin typeface="+mj-lt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ko-KR" altLang="en-US" b="1" i="0" dirty="0" err="1">
                <a:solidFill>
                  <a:srgbClr val="424242"/>
                </a:solidFill>
                <a:effectLst/>
                <a:latin typeface="gothic_m"/>
              </a:rPr>
              <a:t>역전파</a:t>
            </a:r>
            <a:r>
              <a:rPr lang="en-US" altLang="ko-KR" b="0" i="0" dirty="0">
                <a:solidFill>
                  <a:srgbClr val="8B8B8B"/>
                </a:solidFill>
                <a:effectLst/>
                <a:latin typeface="serif_l"/>
              </a:rPr>
              <a:t>(Backpropagation)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serif_l"/>
              </a:rPr>
              <a:t> 알고리즘 </a:t>
            </a:r>
            <a:r>
              <a:rPr lang="en-US" altLang="ko-KR" sz="1500" b="0" i="0" dirty="0">
                <a:solidFill>
                  <a:srgbClr val="424242"/>
                </a:solidFill>
                <a:effectLst/>
                <a:latin typeface="serif_l"/>
              </a:rPr>
              <a:t>(</a:t>
            </a:r>
            <a:r>
              <a:rPr lang="ko-KR" altLang="en-US" sz="1500" b="1" i="0" dirty="0">
                <a:solidFill>
                  <a:srgbClr val="424242"/>
                </a:solidFill>
                <a:effectLst/>
                <a:latin typeface="gothic_m"/>
              </a:rPr>
              <a:t>후진 모드 자동 미분</a:t>
            </a:r>
            <a:r>
              <a:rPr lang="en-US" altLang="ko-KR" sz="1500" b="0" i="0" dirty="0">
                <a:solidFill>
                  <a:srgbClr val="8B8B8B"/>
                </a:solidFill>
                <a:effectLst/>
                <a:latin typeface="serif_l"/>
              </a:rPr>
              <a:t>(reverse-mode automatic differentiation))</a:t>
            </a:r>
            <a:endParaRPr lang="en-US" altLang="ko-KR" sz="1500" b="0" i="0" dirty="0">
              <a:solidFill>
                <a:srgbClr val="424242"/>
              </a:solidFill>
              <a:effectLst/>
              <a:latin typeface="serif_l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ko-KR" b="1" i="0" dirty="0">
                <a:solidFill>
                  <a:srgbClr val="424242"/>
                </a:solidFill>
                <a:effectLst/>
                <a:latin typeface="+mj-lt"/>
              </a:rPr>
              <a:t>-</a:t>
            </a:r>
            <a:r>
              <a:rPr kumimoji="0" lang="en-US" altLang="ko-KR" u="none" strike="noStrike" cap="none" normalizeH="0" baseline="0" dirty="0">
                <a:ln>
                  <a:noFill/>
                </a:ln>
                <a:solidFill>
                  <a:srgbClr val="424242"/>
                </a:solidFill>
                <a:latin typeface="serif_l"/>
              </a:rPr>
              <a:t> </a:t>
            </a:r>
            <a:r>
              <a:rPr kumimoji="0" lang="ko-KR" altLang="en-US" u="none" strike="noStrike" cap="none" normalizeH="0" baseline="0" dirty="0">
                <a:ln>
                  <a:noFill/>
                </a:ln>
                <a:solidFill>
                  <a:srgbClr val="424242"/>
                </a:solidFill>
                <a:latin typeface="serif_l"/>
              </a:rPr>
              <a:t>연쇄 법칙을 신경망의 </a:t>
            </a:r>
            <a:r>
              <a:rPr kumimoji="0" lang="ko-KR" altLang="en-US" u="none" strike="noStrike" cap="none" normalizeH="0" baseline="0" dirty="0" err="1">
                <a:ln>
                  <a:noFill/>
                </a:ln>
                <a:solidFill>
                  <a:srgbClr val="424242"/>
                </a:solidFill>
                <a:latin typeface="serif_l"/>
              </a:rPr>
              <a:t>그래디언트</a:t>
            </a:r>
            <a:r>
              <a:rPr kumimoji="0" lang="ko-KR" altLang="en-US" u="none" strike="noStrike" cap="none" normalizeH="0" baseline="0" dirty="0">
                <a:ln>
                  <a:noFill/>
                </a:ln>
                <a:solidFill>
                  <a:srgbClr val="424242"/>
                </a:solidFill>
                <a:latin typeface="serif_l"/>
              </a:rPr>
              <a:t> </a:t>
            </a:r>
            <a:r>
              <a:rPr lang="ko-KR" altLang="en-US" dirty="0">
                <a:solidFill>
                  <a:srgbClr val="424242"/>
                </a:solidFill>
                <a:latin typeface="serif_l"/>
              </a:rPr>
              <a:t>계산에 적용</a:t>
            </a:r>
            <a:endParaRPr kumimoji="0" lang="ko-KR" altLang="ko-KR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164361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5</a:t>
            </a:r>
            <a:r>
              <a:rPr lang="ko-KR" altLang="en-US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첫번째 예제 다시 살펴보기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F7B64BF6-F1F3-4E74-A95D-474918E5CA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1788" y="1933422"/>
            <a:ext cx="7753593" cy="329577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42011582-3722-48C4-8F08-1267EDA3B85A}"/>
                  </a:ext>
                </a:extLst>
              </p:cNvPr>
              <p:cNvSpPr txBox="1"/>
              <p:nvPr/>
            </p:nvSpPr>
            <p:spPr>
              <a:xfrm>
                <a:off x="467544" y="1433101"/>
                <a:ext cx="3456384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b="1" i="1" smtClean="0">
                        <a:solidFill>
                          <a:srgbClr val="424242"/>
                        </a:solidFill>
                        <a:effectLst/>
                        <a:latin typeface="Cambria Math" panose="02040503050406030204" pitchFamily="18" charset="0"/>
                      </a:rPr>
                      <m:t>∙ </m:t>
                    </m:r>
                  </m:oMath>
                </a14:m>
                <a:r>
                  <a:rPr lang="ko-KR" altLang="en-US" b="1" dirty="0"/>
                  <a:t> 입력 데이터</a:t>
                </a: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42011582-3722-48C4-8F08-1267EDA3B8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7544" y="1433101"/>
                <a:ext cx="3456384" cy="369332"/>
              </a:xfrm>
              <a:prstGeom prst="rect">
                <a:avLst/>
              </a:prstGeom>
              <a:blipFill>
                <a:blip r:embed="rId8"/>
                <a:stretch>
                  <a:fillRect t="-8197" b="-24590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43211566-FC5E-41CF-808E-6780B42E9432}"/>
              </a:ext>
            </a:extLst>
          </p:cNvPr>
          <p:cNvSpPr txBox="1"/>
          <p:nvPr/>
        </p:nvSpPr>
        <p:spPr>
          <a:xfrm>
            <a:off x="495600" y="5297428"/>
            <a:ext cx="8330691" cy="8345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700" b="0" i="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rif_l"/>
              </a:rPr>
              <a:t>입력 이미지의 데이터 타입은 </a:t>
            </a:r>
            <a:r>
              <a:rPr lang="en-US" altLang="ko-KR" sz="1700" b="0" i="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de"/>
              </a:rPr>
              <a:t>float32</a:t>
            </a:r>
            <a:r>
              <a:rPr lang="ko-KR" altLang="en-US" sz="1700" b="0" i="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rif_l"/>
              </a:rPr>
              <a:t>로</a:t>
            </a:r>
            <a:r>
              <a:rPr lang="en-US" altLang="ko-KR" sz="1700" b="0" i="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rif_l"/>
              </a:rPr>
              <a:t>, </a:t>
            </a:r>
            <a:r>
              <a:rPr lang="ko-KR" altLang="en-US" sz="1700" b="0" i="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rif_l"/>
              </a:rPr>
              <a:t>훈련 데이터는 </a:t>
            </a:r>
            <a:r>
              <a:rPr lang="en-US" altLang="ko-KR" sz="1700" b="0" i="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de"/>
              </a:rPr>
              <a:t>(60000, 784)</a:t>
            </a:r>
            <a:r>
              <a:rPr lang="ko-KR" altLang="en-US" sz="1700" b="0" i="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rif_l"/>
              </a:rPr>
              <a:t> 크기</a:t>
            </a:r>
            <a:r>
              <a:rPr lang="en-US" altLang="ko-KR" sz="1700" b="0" i="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rif_l"/>
              </a:rPr>
              <a:t>,</a:t>
            </a:r>
          </a:p>
          <a:p>
            <a:pPr>
              <a:lnSpc>
                <a:spcPct val="150000"/>
              </a:lnSpc>
            </a:pPr>
            <a:r>
              <a:rPr lang="en-US" altLang="ko-KR" sz="1700" b="0" i="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rif_l"/>
              </a:rPr>
              <a:t> </a:t>
            </a:r>
            <a:r>
              <a:rPr lang="ko-KR" altLang="en-US" sz="1700" b="0" i="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rif_l"/>
              </a:rPr>
              <a:t>테스트 데이터는 </a:t>
            </a:r>
            <a:r>
              <a:rPr lang="en-US" altLang="ko-KR" sz="1700" b="0" i="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de"/>
              </a:rPr>
              <a:t>(10000, 784)</a:t>
            </a:r>
            <a:r>
              <a:rPr lang="ko-KR" altLang="en-US" sz="1700" b="0" i="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rif_l"/>
              </a:rPr>
              <a:t> 크기의 </a:t>
            </a:r>
            <a:r>
              <a:rPr lang="ko-KR" altLang="en-US" sz="1700" b="0" i="0" dirty="0" err="1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rif_l"/>
              </a:rPr>
              <a:t>넘파이</a:t>
            </a:r>
            <a:r>
              <a:rPr lang="ko-KR" altLang="en-US" sz="1700" b="0" i="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rif_l"/>
              </a:rPr>
              <a:t> 배열로 저장</a:t>
            </a:r>
            <a:endParaRPr lang="ko-KR" altLang="en-US" sz="17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7917245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5</a:t>
            </a:r>
            <a:r>
              <a:rPr lang="ko-KR" altLang="en-US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첫번째 예제 다시 살펴보기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DBB611A9-C140-4BB8-BEE1-673A5DC093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4695" y="2301534"/>
            <a:ext cx="8355043" cy="1029633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8E733DB-F90A-407E-ABEF-17C1EBC4EF6E}"/>
                  </a:ext>
                </a:extLst>
              </p:cNvPr>
              <p:cNvSpPr txBox="1"/>
              <p:nvPr/>
            </p:nvSpPr>
            <p:spPr>
              <a:xfrm>
                <a:off x="394478" y="1700808"/>
                <a:ext cx="4572000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b="1" i="1" smtClean="0">
                        <a:solidFill>
                          <a:srgbClr val="424242"/>
                        </a:solidFill>
                        <a:effectLst/>
                        <a:latin typeface="Cambria Math" panose="02040503050406030204" pitchFamily="18" charset="0"/>
                      </a:rPr>
                      <m:t>∙ </m:t>
                    </m:r>
                  </m:oMath>
                </a14:m>
                <a:r>
                  <a:rPr lang="ko-KR" altLang="en-US" b="1" i="0" dirty="0">
                    <a:solidFill>
                      <a:srgbClr val="424242"/>
                    </a:solidFill>
                    <a:effectLst/>
                    <a:latin typeface="serif_l"/>
                  </a:rPr>
                  <a:t> 사용할 신경망</a:t>
                </a:r>
                <a:endParaRPr lang="ko-KR" altLang="en-US" b="1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8E733DB-F90A-407E-ABEF-17C1EBC4EF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4478" y="1700808"/>
                <a:ext cx="4572000" cy="369332"/>
              </a:xfrm>
              <a:prstGeom prst="rect">
                <a:avLst/>
              </a:prstGeom>
              <a:blipFill>
                <a:blip r:embed="rId8"/>
                <a:stretch>
                  <a:fillRect t="-11475" b="-21311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1B9804CE-98A2-4E04-B196-AA4E5C28D722}"/>
              </a:ext>
            </a:extLst>
          </p:cNvPr>
          <p:cNvSpPr txBox="1"/>
          <p:nvPr/>
        </p:nvSpPr>
        <p:spPr>
          <a:xfrm>
            <a:off x="394478" y="3587532"/>
            <a:ext cx="835504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altLang="ko-KR" b="0" i="0" dirty="0">
                <a:solidFill>
                  <a:srgbClr val="424242"/>
                </a:solidFill>
                <a:effectLst/>
                <a:latin typeface="serif_l"/>
              </a:rPr>
              <a:t>2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serif_l"/>
              </a:rPr>
              <a:t>개의 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code"/>
              </a:rPr>
              <a:t>Dense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serif_l"/>
              </a:rPr>
              <a:t> 층 연결</a:t>
            </a:r>
            <a:endParaRPr lang="en-US" altLang="ko-KR" b="0" i="0" dirty="0">
              <a:solidFill>
                <a:srgbClr val="424242"/>
              </a:solidFill>
              <a:effectLst/>
              <a:latin typeface="serif_l"/>
            </a:endParaRPr>
          </a:p>
          <a:p>
            <a:pPr marL="285750" indent="-285750">
              <a:buFontTx/>
              <a:buChar char="-"/>
            </a:pPr>
            <a:r>
              <a:rPr lang="ko-KR" altLang="en-US" b="0" i="0" dirty="0">
                <a:solidFill>
                  <a:srgbClr val="424242"/>
                </a:solidFill>
                <a:effectLst/>
                <a:latin typeface="serif_l"/>
              </a:rPr>
              <a:t>각 층은 가중치 </a:t>
            </a:r>
            <a:r>
              <a:rPr lang="ko-KR" altLang="en-US" b="0" i="0" dirty="0" err="1">
                <a:solidFill>
                  <a:srgbClr val="424242"/>
                </a:solidFill>
                <a:effectLst/>
                <a:latin typeface="serif_l"/>
              </a:rPr>
              <a:t>텐서를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serif_l"/>
              </a:rPr>
              <a:t> 포함하여 입력 데이터에 대한 몇 개의 간단한 </a:t>
            </a:r>
            <a:r>
              <a:rPr lang="ko-KR" altLang="en-US" b="0" i="0" dirty="0" err="1">
                <a:solidFill>
                  <a:srgbClr val="424242"/>
                </a:solidFill>
                <a:effectLst/>
                <a:latin typeface="serif_l"/>
              </a:rPr>
              <a:t>텐서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serif_l"/>
              </a:rPr>
              <a:t> 연산을 적용</a:t>
            </a:r>
            <a:endParaRPr lang="en-US" altLang="ko-KR" b="0" i="0" dirty="0">
              <a:solidFill>
                <a:srgbClr val="424242"/>
              </a:solidFill>
              <a:effectLst/>
              <a:latin typeface="serif_l"/>
            </a:endParaRPr>
          </a:p>
          <a:p>
            <a:pPr marL="285750" indent="-285750">
              <a:buFontTx/>
              <a:buChar char="-"/>
            </a:pPr>
            <a:r>
              <a:rPr lang="ko-KR" altLang="en-US" b="0" i="0" dirty="0">
                <a:solidFill>
                  <a:srgbClr val="424242"/>
                </a:solidFill>
                <a:effectLst/>
                <a:latin typeface="serif_l"/>
              </a:rPr>
              <a:t>층의 속성인 가중치 </a:t>
            </a:r>
            <a:r>
              <a:rPr lang="ko-KR" altLang="en-US" b="0" i="0" dirty="0" err="1">
                <a:solidFill>
                  <a:srgbClr val="424242"/>
                </a:solidFill>
                <a:effectLst/>
                <a:latin typeface="serif_l"/>
              </a:rPr>
              <a:t>텐서는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serif_l"/>
              </a:rPr>
              <a:t> 네트워크가 정보를 저장하는 곳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259747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5</a:t>
            </a:r>
            <a:r>
              <a:rPr lang="ko-KR" altLang="en-US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첫번째 예제 다시 살펴보기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00E1A454-27AC-474D-9107-7783D31AB8BF}"/>
                  </a:ext>
                </a:extLst>
              </p:cNvPr>
              <p:cNvSpPr txBox="1"/>
              <p:nvPr/>
            </p:nvSpPr>
            <p:spPr>
              <a:xfrm>
                <a:off x="467544" y="1484784"/>
                <a:ext cx="4572000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b="1" i="1" smtClean="0">
                        <a:solidFill>
                          <a:srgbClr val="424242"/>
                        </a:solidFill>
                        <a:effectLst/>
                        <a:latin typeface="Cambria Math" panose="02040503050406030204" pitchFamily="18" charset="0"/>
                      </a:rPr>
                      <m:t>∙ </m:t>
                    </m:r>
                  </m:oMath>
                </a14:m>
                <a:r>
                  <a:rPr lang="ko-KR" altLang="en-US" b="1" i="0" dirty="0">
                    <a:solidFill>
                      <a:srgbClr val="424242"/>
                    </a:solidFill>
                    <a:effectLst/>
                    <a:latin typeface="serif_l"/>
                  </a:rPr>
                  <a:t> 네트워크 컴파일</a:t>
                </a:r>
                <a:endParaRPr lang="ko-KR" altLang="en-US" b="1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00E1A454-27AC-474D-9107-7783D31AB8B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7544" y="1484784"/>
                <a:ext cx="4572000" cy="369332"/>
              </a:xfrm>
              <a:prstGeom prst="rect">
                <a:avLst/>
              </a:prstGeom>
              <a:blipFill>
                <a:blip r:embed="rId7"/>
                <a:stretch>
                  <a:fillRect t="-13333" b="-23333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그림 7">
            <a:extLst>
              <a:ext uri="{FF2B5EF4-FFF2-40B4-BE49-F238E27FC236}">
                <a16:creationId xmlns:a16="http://schemas.microsoft.com/office/drawing/2014/main" id="{65BDB6DA-D5D9-4F6D-8C00-3EE22FF474C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11628"/>
          <a:stretch/>
        </p:blipFill>
        <p:spPr>
          <a:xfrm>
            <a:off x="755576" y="2046505"/>
            <a:ext cx="6782326" cy="100514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cxnSp>
        <p:nvCxnSpPr>
          <p:cNvPr id="10" name="연결선: 꺾임 9">
            <a:extLst>
              <a:ext uri="{FF2B5EF4-FFF2-40B4-BE49-F238E27FC236}">
                <a16:creationId xmlns:a16="http://schemas.microsoft.com/office/drawing/2014/main" id="{53032513-2928-4203-8CAC-90C50937B488}"/>
              </a:ext>
            </a:extLst>
          </p:cNvPr>
          <p:cNvCxnSpPr>
            <a:cxnSpLocks/>
          </p:cNvCxnSpPr>
          <p:nvPr/>
        </p:nvCxnSpPr>
        <p:spPr>
          <a:xfrm>
            <a:off x="3059832" y="2607797"/>
            <a:ext cx="3456384" cy="288032"/>
          </a:xfrm>
          <a:prstGeom prst="bentConnector3">
            <a:avLst>
              <a:gd name="adj1" fmla="val 68449"/>
            </a:avLst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BBEFC642-6D9D-4844-B3E3-E1ED10B61E01}"/>
              </a:ext>
            </a:extLst>
          </p:cNvPr>
          <p:cNvSpPr txBox="1"/>
          <p:nvPr/>
        </p:nvSpPr>
        <p:spPr>
          <a:xfrm>
            <a:off x="6588224" y="2751813"/>
            <a:ext cx="1584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>
                <a:highlight>
                  <a:srgbClr val="C0C0C0"/>
                </a:highlight>
              </a:rPr>
              <a:t>손실함수</a:t>
            </a:r>
            <a:endParaRPr lang="ko-KR" altLang="en-US" sz="1600" dirty="0">
              <a:highlight>
                <a:srgbClr val="C0C0C0"/>
              </a:highlight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146CAEF9-06B3-44AC-A15E-94210BBFC5C4}"/>
                  </a:ext>
                </a:extLst>
              </p:cNvPr>
              <p:cNvSpPr txBox="1"/>
              <p:nvPr/>
            </p:nvSpPr>
            <p:spPr>
              <a:xfrm>
                <a:off x="467544" y="3621684"/>
                <a:ext cx="4572000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b="1" i="1" smtClean="0">
                        <a:solidFill>
                          <a:srgbClr val="424242"/>
                        </a:solidFill>
                        <a:effectLst/>
                        <a:latin typeface="Cambria Math" panose="02040503050406030204" pitchFamily="18" charset="0"/>
                      </a:rPr>
                      <m:t>∙ </m:t>
                    </m:r>
                  </m:oMath>
                </a14:m>
                <a:r>
                  <a:rPr lang="ko-KR" altLang="en-US" b="1" i="0" dirty="0">
                    <a:solidFill>
                      <a:srgbClr val="424242"/>
                    </a:solidFill>
                    <a:effectLst/>
                    <a:latin typeface="serif_l"/>
                  </a:rPr>
                  <a:t> 훈련 반복</a:t>
                </a:r>
                <a:endParaRPr lang="ko-KR" altLang="en-US" b="1" dirty="0"/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146CAEF9-06B3-44AC-A15E-94210BBFC5C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7544" y="3621684"/>
                <a:ext cx="4572000" cy="369332"/>
              </a:xfrm>
              <a:prstGeom prst="rect">
                <a:avLst/>
              </a:prstGeom>
              <a:blipFill>
                <a:blip r:embed="rId9"/>
                <a:stretch>
                  <a:fillRect t="-11475" b="-21311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9" name="그림 18">
            <a:extLst>
              <a:ext uri="{FF2B5EF4-FFF2-40B4-BE49-F238E27FC236}">
                <a16:creationId xmlns:a16="http://schemas.microsoft.com/office/drawing/2014/main" id="{C0C783A8-FFB9-4584-8FF7-07678B0DDD5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5576" y="4150557"/>
            <a:ext cx="7411747" cy="41787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2262400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6</a:t>
            </a:r>
            <a:r>
              <a:rPr lang="ko-KR" altLang="en-US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요약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4B6DFCC-CE11-49D3-9142-A349574C6843}"/>
              </a:ext>
            </a:extLst>
          </p:cNvPr>
          <p:cNvSpPr txBox="1"/>
          <p:nvPr/>
        </p:nvSpPr>
        <p:spPr>
          <a:xfrm>
            <a:off x="320389" y="1196752"/>
            <a:ext cx="8424936" cy="56323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latinLnBrk="1"/>
            <a:r>
              <a:rPr lang="en-US" altLang="ko-KR" sz="2000" b="0" i="0" dirty="0">
                <a:solidFill>
                  <a:srgbClr val="9C9C9C"/>
                </a:solidFill>
                <a:effectLst/>
                <a:latin typeface="serif_l"/>
              </a:rPr>
              <a:t>•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serif_l"/>
              </a:rPr>
              <a:t> </a:t>
            </a:r>
            <a:r>
              <a:rPr lang="ko-KR" altLang="en-US" sz="2000" b="1" i="0" dirty="0">
                <a:solidFill>
                  <a:srgbClr val="424242"/>
                </a:solidFill>
                <a:effectLst/>
                <a:latin typeface="gothic_m"/>
              </a:rPr>
              <a:t>학습</a:t>
            </a:r>
            <a:r>
              <a:rPr lang="en-US" altLang="ko-KR" sz="2000" b="0" i="0" dirty="0">
                <a:solidFill>
                  <a:srgbClr val="8B8B8B"/>
                </a:solidFill>
                <a:effectLst/>
                <a:latin typeface="serif_l"/>
              </a:rPr>
              <a:t>(Learning)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serif_l"/>
              </a:rPr>
              <a:t>은 훈련 데이터 샘플과 그에 상응하는 타깃이 주어졌을 때 손실 함수를 최소화하는 모델 파라미터의 조합을 찾는 것을 의미한다</a:t>
            </a:r>
            <a:r>
              <a:rPr lang="en-US" altLang="ko-KR" sz="2000" b="0" i="0" dirty="0">
                <a:solidFill>
                  <a:srgbClr val="424242"/>
                </a:solidFill>
                <a:effectLst/>
                <a:latin typeface="serif_l"/>
              </a:rPr>
              <a:t>.</a:t>
            </a:r>
          </a:p>
          <a:p>
            <a:pPr algn="l" latinLnBrk="1"/>
            <a:endParaRPr lang="en-US" altLang="ko-KR" sz="1000" b="0" i="0" dirty="0">
              <a:solidFill>
                <a:srgbClr val="424242"/>
              </a:solidFill>
              <a:effectLst/>
              <a:latin typeface="serif_l"/>
            </a:endParaRPr>
          </a:p>
          <a:p>
            <a:pPr algn="l" latinLnBrk="1"/>
            <a:r>
              <a:rPr lang="en-US" altLang="ko-KR" sz="2000" b="0" i="0" dirty="0">
                <a:solidFill>
                  <a:srgbClr val="9C9C9C"/>
                </a:solidFill>
                <a:effectLst/>
                <a:latin typeface="serif_l"/>
              </a:rPr>
              <a:t>•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serif_l"/>
              </a:rPr>
              <a:t> 데이터 샘플과 타깃의 배치를 랜덤하게 뽑고 이 배치에서 손실에 대한 파라미터의 </a:t>
            </a:r>
            <a:r>
              <a:rPr lang="ko-KR" altLang="en-US" sz="2000" b="0" i="0" dirty="0" err="1">
                <a:solidFill>
                  <a:srgbClr val="424242"/>
                </a:solidFill>
                <a:effectLst/>
                <a:latin typeface="serif_l"/>
              </a:rPr>
              <a:t>그래디언트를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serif_l"/>
              </a:rPr>
              <a:t> 계산함으로써 학습이 진행됩니다</a:t>
            </a:r>
            <a:r>
              <a:rPr lang="en-US" altLang="ko-KR" sz="2000" b="0" i="0" dirty="0">
                <a:solidFill>
                  <a:srgbClr val="424242"/>
                </a:solidFill>
                <a:effectLst/>
                <a:latin typeface="serif_l"/>
              </a:rPr>
              <a:t>. 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serif_l"/>
              </a:rPr>
              <a:t>네트워크의 파라미터는 </a:t>
            </a:r>
            <a:r>
              <a:rPr lang="ko-KR" altLang="en-US" sz="2000" b="0" i="0" dirty="0" err="1">
                <a:solidFill>
                  <a:srgbClr val="424242"/>
                </a:solidFill>
                <a:effectLst/>
                <a:latin typeface="serif_l"/>
              </a:rPr>
              <a:t>그래디언트의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serif_l"/>
              </a:rPr>
              <a:t> 반대 방향으로 조금씩</a:t>
            </a:r>
            <a:r>
              <a:rPr lang="en-US" altLang="ko-KR" sz="2000" b="0" i="0" dirty="0">
                <a:solidFill>
                  <a:srgbClr val="424242"/>
                </a:solidFill>
                <a:effectLst/>
                <a:latin typeface="serif_l"/>
              </a:rPr>
              <a:t>(</a:t>
            </a:r>
            <a:r>
              <a:rPr lang="ko-KR" altLang="en-US" sz="2000" b="0" i="0" dirty="0" err="1">
                <a:solidFill>
                  <a:srgbClr val="424242"/>
                </a:solidFill>
                <a:effectLst/>
                <a:latin typeface="serif_l"/>
              </a:rPr>
              <a:t>학습률에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serif_l"/>
              </a:rPr>
              <a:t> 의해 정의된 크기만큼</a:t>
            </a:r>
            <a:r>
              <a:rPr lang="en-US" altLang="ko-KR" sz="2000" b="0" i="0" dirty="0">
                <a:solidFill>
                  <a:srgbClr val="424242"/>
                </a:solidFill>
                <a:effectLst/>
                <a:latin typeface="serif_l"/>
              </a:rPr>
              <a:t>) 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serif_l"/>
              </a:rPr>
              <a:t>움직입니다</a:t>
            </a:r>
            <a:r>
              <a:rPr lang="en-US" altLang="ko-KR" sz="2000" b="0" i="0" dirty="0">
                <a:solidFill>
                  <a:srgbClr val="424242"/>
                </a:solidFill>
                <a:effectLst/>
                <a:latin typeface="serif_l"/>
              </a:rPr>
              <a:t>.</a:t>
            </a:r>
          </a:p>
          <a:p>
            <a:pPr algn="l" latinLnBrk="1"/>
            <a:endParaRPr lang="en-US" altLang="ko-KR" sz="1000" b="0" i="0" dirty="0">
              <a:solidFill>
                <a:srgbClr val="424242"/>
              </a:solidFill>
              <a:effectLst/>
              <a:latin typeface="serif_l"/>
            </a:endParaRPr>
          </a:p>
          <a:p>
            <a:pPr algn="l" latinLnBrk="1"/>
            <a:r>
              <a:rPr lang="en-US" altLang="ko-KR" sz="2000" b="0" i="0" dirty="0">
                <a:solidFill>
                  <a:srgbClr val="9C9C9C"/>
                </a:solidFill>
                <a:effectLst/>
                <a:latin typeface="serif_l"/>
              </a:rPr>
              <a:t>•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serif_l"/>
              </a:rPr>
              <a:t> 전체 학습 과정은 신경망이 미분 가능한 </a:t>
            </a:r>
            <a:r>
              <a:rPr lang="ko-KR" altLang="en-US" sz="2000" b="0" i="0" dirty="0" err="1">
                <a:solidFill>
                  <a:srgbClr val="424242"/>
                </a:solidFill>
                <a:effectLst/>
                <a:latin typeface="serif_l"/>
              </a:rPr>
              <a:t>텐서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serif_l"/>
              </a:rPr>
              <a:t> 연산으로 연결되어 있기 때문에 가능합니다</a:t>
            </a:r>
            <a:r>
              <a:rPr lang="en-US" altLang="ko-KR" sz="2000" b="0" i="0" dirty="0">
                <a:solidFill>
                  <a:srgbClr val="424242"/>
                </a:solidFill>
                <a:effectLst/>
                <a:latin typeface="serif_l"/>
              </a:rPr>
              <a:t>. 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serif_l"/>
              </a:rPr>
              <a:t>현재 파라미터와 배치 데이터를 </a:t>
            </a:r>
            <a:r>
              <a:rPr lang="ko-KR" altLang="en-US" sz="2000" b="0" i="0" dirty="0" err="1">
                <a:solidFill>
                  <a:srgbClr val="424242"/>
                </a:solidFill>
                <a:effectLst/>
                <a:latin typeface="serif_l"/>
              </a:rPr>
              <a:t>그래디언트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serif_l"/>
              </a:rPr>
              <a:t> 값에 매핑해 주는 </a:t>
            </a:r>
            <a:r>
              <a:rPr lang="ko-KR" altLang="en-US" sz="2000" b="0" i="0" dirty="0" err="1">
                <a:solidFill>
                  <a:srgbClr val="424242"/>
                </a:solidFill>
                <a:effectLst/>
                <a:latin typeface="serif_l"/>
              </a:rPr>
              <a:t>그래디언트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serif_l"/>
              </a:rPr>
              <a:t> 함수를 구성하기 위해 미분의 연쇄 법칙을 사용합니다</a:t>
            </a:r>
            <a:r>
              <a:rPr lang="en-US" altLang="ko-KR" sz="2000" b="0" i="0" dirty="0">
                <a:solidFill>
                  <a:srgbClr val="424242"/>
                </a:solidFill>
                <a:effectLst/>
                <a:latin typeface="serif_l"/>
              </a:rPr>
              <a:t>.</a:t>
            </a:r>
          </a:p>
          <a:p>
            <a:pPr algn="l" latinLnBrk="1"/>
            <a:endParaRPr lang="en-US" altLang="ko-KR" sz="1000" b="0" i="0" dirty="0">
              <a:solidFill>
                <a:srgbClr val="424242"/>
              </a:solidFill>
              <a:effectLst/>
              <a:latin typeface="serif_l"/>
            </a:endParaRPr>
          </a:p>
          <a:p>
            <a:pPr algn="l" latinLnBrk="1"/>
            <a:r>
              <a:rPr lang="en-US" altLang="ko-KR" sz="2000" b="0" i="0" dirty="0">
                <a:solidFill>
                  <a:srgbClr val="9C9C9C"/>
                </a:solidFill>
                <a:effectLst/>
                <a:latin typeface="serif_l"/>
              </a:rPr>
              <a:t>•</a:t>
            </a:r>
            <a:r>
              <a:rPr lang="ko-KR" altLang="en-US" sz="2000" b="1" i="0" dirty="0">
                <a:solidFill>
                  <a:srgbClr val="424242"/>
                </a:solidFill>
                <a:effectLst/>
                <a:latin typeface="gothic_m"/>
              </a:rPr>
              <a:t>손실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serif_l"/>
              </a:rPr>
              <a:t>과 </a:t>
            </a:r>
            <a:r>
              <a:rPr lang="ko-KR" altLang="en-US" sz="2000" b="1" i="0" dirty="0" err="1">
                <a:solidFill>
                  <a:srgbClr val="424242"/>
                </a:solidFill>
                <a:effectLst/>
                <a:latin typeface="gothic_m"/>
              </a:rPr>
              <a:t>옵티마이저</a:t>
            </a:r>
            <a:r>
              <a:rPr lang="ko-KR" altLang="en-US" sz="2000" b="0" i="0" dirty="0" err="1">
                <a:solidFill>
                  <a:srgbClr val="424242"/>
                </a:solidFill>
                <a:effectLst/>
                <a:latin typeface="serif_l"/>
              </a:rPr>
              <a:t>는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serif_l"/>
              </a:rPr>
              <a:t> 네트워크에 데이터를 주입하기 전에 정의되어야 합니다</a:t>
            </a:r>
            <a:r>
              <a:rPr lang="en-US" altLang="ko-KR" sz="2000" b="0" i="0" dirty="0">
                <a:solidFill>
                  <a:srgbClr val="424242"/>
                </a:solidFill>
                <a:effectLst/>
                <a:latin typeface="serif_l"/>
              </a:rPr>
              <a:t>.</a:t>
            </a:r>
          </a:p>
          <a:p>
            <a:pPr algn="l" latinLnBrk="1"/>
            <a:endParaRPr lang="en-US" altLang="ko-KR" sz="1000" b="0" i="0" dirty="0">
              <a:solidFill>
                <a:srgbClr val="424242"/>
              </a:solidFill>
              <a:effectLst/>
              <a:latin typeface="serif_l"/>
            </a:endParaRPr>
          </a:p>
          <a:p>
            <a:pPr algn="l" latinLnBrk="1"/>
            <a:r>
              <a:rPr lang="en-US" altLang="ko-KR" sz="2000" b="0" i="0" dirty="0">
                <a:solidFill>
                  <a:srgbClr val="9C9C9C"/>
                </a:solidFill>
                <a:effectLst/>
                <a:latin typeface="serif_l"/>
              </a:rPr>
              <a:t>•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serif_l"/>
              </a:rPr>
              <a:t> 손실은 훈련하는 동안 최소화해야 할 양이므로 해결하려는 문제의 성공을 측정하는 데 사용합니다</a:t>
            </a:r>
            <a:r>
              <a:rPr lang="en-US" altLang="ko-KR" sz="2000" b="0" i="0" dirty="0">
                <a:solidFill>
                  <a:srgbClr val="424242"/>
                </a:solidFill>
                <a:effectLst/>
                <a:latin typeface="serif_l"/>
              </a:rPr>
              <a:t>.</a:t>
            </a:r>
          </a:p>
          <a:p>
            <a:pPr algn="l" latinLnBrk="1"/>
            <a:endParaRPr lang="en-US" altLang="ko-KR" sz="1000" b="0" i="0" dirty="0">
              <a:solidFill>
                <a:srgbClr val="424242"/>
              </a:solidFill>
              <a:effectLst/>
              <a:latin typeface="serif_l"/>
            </a:endParaRPr>
          </a:p>
          <a:p>
            <a:pPr algn="l" latinLnBrk="1"/>
            <a:r>
              <a:rPr lang="en-US" altLang="ko-KR" sz="2000" b="0" i="0" dirty="0">
                <a:solidFill>
                  <a:srgbClr val="9C9C9C"/>
                </a:solidFill>
                <a:effectLst/>
                <a:latin typeface="serif_l"/>
              </a:rPr>
              <a:t>•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serif_l"/>
              </a:rPr>
              <a:t> </a:t>
            </a:r>
            <a:r>
              <a:rPr lang="ko-KR" altLang="en-US" sz="2000" b="0" i="0" dirty="0" err="1">
                <a:solidFill>
                  <a:srgbClr val="424242"/>
                </a:solidFill>
                <a:effectLst/>
                <a:latin typeface="serif_l"/>
              </a:rPr>
              <a:t>옵티마이저는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serif_l"/>
              </a:rPr>
              <a:t> 손실에 대한 </a:t>
            </a:r>
            <a:r>
              <a:rPr lang="ko-KR" altLang="en-US" sz="2000" b="0" i="0" dirty="0" err="1">
                <a:solidFill>
                  <a:srgbClr val="424242"/>
                </a:solidFill>
                <a:effectLst/>
                <a:latin typeface="serif_l"/>
              </a:rPr>
              <a:t>그래디언트가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serif_l"/>
              </a:rPr>
              <a:t> 파라미터를 업데이트하는 정확한 방식을 정의합니다</a:t>
            </a:r>
            <a:r>
              <a:rPr lang="en-US" altLang="ko-KR" sz="2000" b="0" i="0" dirty="0">
                <a:solidFill>
                  <a:srgbClr val="424242"/>
                </a:solidFill>
                <a:effectLst/>
                <a:latin typeface="serif_l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1632931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39552" y="2492896"/>
            <a:ext cx="78488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6000" dirty="0">
                <a:latin typeface="Sandoll 고딕Neo2유니 06 Bd" pitchFamily="34" charset="-127"/>
                <a:ea typeface="Sandoll 고딕Neo2유니 06 Bd" pitchFamily="34" charset="-127"/>
              </a:rPr>
              <a:t>감사합니다</a:t>
            </a:r>
          </a:p>
        </p:txBody>
      </p:sp>
    </p:spTree>
    <p:extLst>
      <p:ext uri="{BB962C8B-B14F-4D97-AF65-F5344CB8AC3E}">
        <p14:creationId xmlns:p14="http://schemas.microsoft.com/office/powerpoint/2010/main" val="8117407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419033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4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신경망의 엔진</a:t>
            </a:r>
            <a:r>
              <a:rPr lang="en-US" altLang="ko-KR" sz="30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3000" dirty="0" err="1">
                <a:latin typeface="Sandoll 고딕Neo2유니 06 Bd" pitchFamily="34" charset="-127"/>
                <a:ea typeface="Sandoll 고딕Neo2유니 06 Bd" pitchFamily="34" charset="-127"/>
              </a:rPr>
              <a:t>그래디언트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기반 최적화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58DBD40-F6BA-4220-9DC6-A830680B4BD5}"/>
              </a:ext>
            </a:extLst>
          </p:cNvPr>
          <p:cNvSpPr txBox="1"/>
          <p:nvPr/>
        </p:nvSpPr>
        <p:spPr>
          <a:xfrm>
            <a:off x="346398" y="1484784"/>
            <a:ext cx="8496944" cy="30814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200000"/>
              </a:lnSpc>
              <a:buFont typeface="+mj-lt"/>
              <a:buAutoNum type="arabicPeriod"/>
            </a:pPr>
            <a:r>
              <a:rPr lang="ko-KR" altLang="en-US" sz="2000" b="0" i="0" dirty="0">
                <a:solidFill>
                  <a:srgbClr val="494E52"/>
                </a:solidFill>
                <a:effectLst/>
                <a:latin typeface="-apple-system"/>
              </a:rPr>
              <a:t> 훈련 샘플 </a:t>
            </a:r>
            <a:r>
              <a:rPr lang="en-US" altLang="ko-KR" sz="2000" b="0" i="0" dirty="0">
                <a:solidFill>
                  <a:srgbClr val="494E52"/>
                </a:solidFill>
                <a:effectLst/>
                <a:latin typeface="-apple-system"/>
              </a:rPr>
              <a:t>x</a:t>
            </a:r>
            <a:r>
              <a:rPr lang="ko-KR" altLang="en-US" sz="2000" b="0" i="0" dirty="0">
                <a:solidFill>
                  <a:srgbClr val="494E52"/>
                </a:solidFill>
                <a:effectLst/>
                <a:latin typeface="-apple-system"/>
              </a:rPr>
              <a:t>와 상응하는 타깃 </a:t>
            </a:r>
            <a:r>
              <a:rPr lang="en-US" altLang="ko-KR" sz="2000" b="0" i="0" dirty="0">
                <a:solidFill>
                  <a:srgbClr val="494E52"/>
                </a:solidFill>
                <a:effectLst/>
                <a:latin typeface="-apple-system"/>
              </a:rPr>
              <a:t>y</a:t>
            </a:r>
            <a:r>
              <a:rPr lang="ko-KR" altLang="en-US" sz="2000" b="0" i="0" dirty="0">
                <a:solidFill>
                  <a:srgbClr val="494E52"/>
                </a:solidFill>
                <a:effectLst/>
                <a:latin typeface="-apple-system"/>
              </a:rPr>
              <a:t>의 배치를 추출합니다</a:t>
            </a:r>
            <a:r>
              <a:rPr lang="en-US" altLang="ko-KR" sz="2000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</a:p>
          <a:p>
            <a:pPr algn="l">
              <a:lnSpc>
                <a:spcPct val="200000"/>
              </a:lnSpc>
              <a:buFont typeface="+mj-lt"/>
              <a:buAutoNum type="arabicPeriod"/>
            </a:pPr>
            <a:r>
              <a:rPr lang="en-US" altLang="ko-KR" sz="2000" b="0" i="0" dirty="0">
                <a:solidFill>
                  <a:srgbClr val="494E52"/>
                </a:solidFill>
                <a:effectLst/>
                <a:latin typeface="-apple-system"/>
              </a:rPr>
              <a:t> x</a:t>
            </a:r>
            <a:r>
              <a:rPr lang="ko-KR" altLang="en-US" sz="2000" b="0" i="0" dirty="0">
                <a:solidFill>
                  <a:srgbClr val="494E52"/>
                </a:solidFill>
                <a:effectLst/>
                <a:latin typeface="-apple-system"/>
              </a:rPr>
              <a:t>를 사용하여 네트워크를 실행하고</a:t>
            </a:r>
            <a:r>
              <a:rPr lang="en-US" altLang="ko-KR" sz="2000" b="0" i="0" dirty="0">
                <a:solidFill>
                  <a:srgbClr val="494E52"/>
                </a:solidFill>
                <a:effectLst/>
                <a:latin typeface="-apple-system"/>
              </a:rPr>
              <a:t>, </a:t>
            </a:r>
            <a:r>
              <a:rPr lang="ko-KR" altLang="en-US" sz="2000" b="0" i="0" dirty="0" err="1">
                <a:solidFill>
                  <a:srgbClr val="494E52"/>
                </a:solidFill>
                <a:effectLst/>
                <a:latin typeface="-apple-system"/>
              </a:rPr>
              <a:t>예측값을</a:t>
            </a:r>
            <a:r>
              <a:rPr lang="ko-KR" altLang="en-US" sz="2000" b="0" i="0" dirty="0">
                <a:solidFill>
                  <a:srgbClr val="494E52"/>
                </a:solidFill>
                <a:effectLst/>
                <a:latin typeface="-apple-system"/>
              </a:rPr>
              <a:t> 구합니다</a:t>
            </a:r>
            <a:r>
              <a:rPr lang="en-US" altLang="ko-KR" sz="2000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</a:p>
          <a:p>
            <a:pPr algn="l">
              <a:lnSpc>
                <a:spcPct val="200000"/>
              </a:lnSpc>
              <a:buFont typeface="+mj-lt"/>
              <a:buAutoNum type="arabicPeriod"/>
            </a:pPr>
            <a:r>
              <a:rPr lang="ko-KR" altLang="en-US" sz="2000" b="0" i="0" dirty="0">
                <a:solidFill>
                  <a:srgbClr val="494E52"/>
                </a:solidFill>
                <a:effectLst/>
                <a:latin typeface="-apple-system"/>
              </a:rPr>
              <a:t> </a:t>
            </a:r>
            <a:r>
              <a:rPr lang="ko-KR" altLang="en-US" sz="2000" b="0" i="0" dirty="0" err="1">
                <a:solidFill>
                  <a:srgbClr val="494E52"/>
                </a:solidFill>
                <a:effectLst/>
                <a:latin typeface="-apple-system"/>
              </a:rPr>
              <a:t>실제값과</a:t>
            </a:r>
            <a:r>
              <a:rPr lang="ko-KR" altLang="en-US" sz="2000" b="0" i="0" dirty="0">
                <a:solidFill>
                  <a:srgbClr val="494E52"/>
                </a:solidFill>
                <a:effectLst/>
                <a:latin typeface="-apple-system"/>
              </a:rPr>
              <a:t> </a:t>
            </a:r>
            <a:r>
              <a:rPr lang="ko-KR" altLang="en-US" sz="2000" b="0" i="0" dirty="0" err="1">
                <a:solidFill>
                  <a:srgbClr val="494E52"/>
                </a:solidFill>
                <a:effectLst/>
                <a:latin typeface="-apple-system"/>
              </a:rPr>
              <a:t>예측값의</a:t>
            </a:r>
            <a:r>
              <a:rPr lang="ko-KR" altLang="en-US" sz="2000" b="0" i="0" dirty="0">
                <a:solidFill>
                  <a:srgbClr val="494E52"/>
                </a:solidFill>
                <a:effectLst/>
                <a:latin typeface="-apple-system"/>
              </a:rPr>
              <a:t> 차이로 현재 배치의 네트워크에 대한 손실을 계산합니다</a:t>
            </a:r>
            <a:r>
              <a:rPr lang="en-US" altLang="ko-KR" sz="2000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</a:p>
          <a:p>
            <a:pPr algn="l">
              <a:lnSpc>
                <a:spcPct val="200000"/>
              </a:lnSpc>
              <a:buFont typeface="+mj-lt"/>
              <a:buAutoNum type="arabicPeriod"/>
            </a:pPr>
            <a:r>
              <a:rPr lang="ko-KR" altLang="en-US" sz="2000" b="0" i="0" dirty="0">
                <a:solidFill>
                  <a:srgbClr val="494E52"/>
                </a:solidFill>
                <a:effectLst/>
                <a:latin typeface="-apple-system"/>
              </a:rPr>
              <a:t> 배치에 대한 손실이 감소하도록 네트워크의 가중치를 업데이트합니다</a:t>
            </a:r>
            <a:r>
              <a:rPr lang="en-US" altLang="ko-KR" sz="2000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077158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4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신경망의 엔진</a:t>
            </a:r>
            <a:r>
              <a:rPr lang="en-US" altLang="ko-KR" sz="30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3000" dirty="0" err="1">
                <a:latin typeface="Sandoll 고딕Neo2유니 06 Bd" pitchFamily="34" charset="-127"/>
                <a:ea typeface="Sandoll 고딕Neo2유니 06 Bd" pitchFamily="34" charset="-127"/>
              </a:rPr>
              <a:t>그래디언트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기반 최적화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3326C50-6F25-4E21-9CE7-DE7CD6855F9E}"/>
              </a:ext>
            </a:extLst>
          </p:cNvPr>
          <p:cNvSpPr txBox="1"/>
          <p:nvPr/>
        </p:nvSpPr>
        <p:spPr>
          <a:xfrm>
            <a:off x="360757" y="1951258"/>
            <a:ext cx="8496944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900" dirty="0"/>
              <a:t>개별적인 가중치 값이 있을 때 값이 증가해야 할지 감소해야 할지</a:t>
            </a:r>
            <a:r>
              <a:rPr lang="en-US" altLang="ko-KR" sz="1900" dirty="0"/>
              <a:t>, </a:t>
            </a:r>
            <a:r>
              <a:rPr lang="ko-KR" altLang="en-US" sz="1900" dirty="0"/>
              <a:t>또 얼마큼 업데이트해야 할지 어떻게 알 수 있을까요</a:t>
            </a:r>
            <a:r>
              <a:rPr lang="en-US" altLang="ko-KR" sz="1900" dirty="0"/>
              <a:t>?</a:t>
            </a:r>
            <a:endParaRPr lang="ko-KR" altLang="en-US" sz="19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A2701D-4359-4354-B83E-452D7D00E00A}"/>
              </a:ext>
            </a:extLst>
          </p:cNvPr>
          <p:cNvSpPr txBox="1"/>
          <p:nvPr/>
        </p:nvSpPr>
        <p:spPr>
          <a:xfrm>
            <a:off x="700989" y="2906579"/>
            <a:ext cx="748906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700" b="1" dirty="0">
                <a:latin typeface="Batang" panose="02030600000101010101" pitchFamily="18" charset="-127"/>
                <a:ea typeface="Batang" panose="02030600000101010101" pitchFamily="18" charset="-127"/>
              </a:rPr>
              <a:t>네트워크 가중치 행렬의 원소를 모두 고정하고 관심 있는 하나만 다른 값을 적용해 봅니다</a:t>
            </a:r>
            <a:r>
              <a:rPr lang="en-US" altLang="ko-KR" sz="1700" b="1" dirty="0">
                <a:latin typeface="Batang" panose="02030600000101010101" pitchFamily="18" charset="-127"/>
                <a:ea typeface="Batang" panose="02030600000101010101" pitchFamily="18" charset="-127"/>
              </a:rPr>
              <a:t>.</a:t>
            </a:r>
            <a:endParaRPr lang="ko-KR" altLang="en-US" sz="1700" b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AC93945-CF3C-44EA-BBEF-B22A16FA4611}"/>
              </a:ext>
            </a:extLst>
          </p:cNvPr>
          <p:cNvSpPr txBox="1"/>
          <p:nvPr/>
        </p:nvSpPr>
        <p:spPr>
          <a:xfrm>
            <a:off x="864695" y="3463006"/>
            <a:ext cx="7126342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500" dirty="0"/>
              <a:t>→ 그러나</a:t>
            </a:r>
            <a:r>
              <a:rPr lang="en-US" altLang="ko-KR" sz="1500" dirty="0"/>
              <a:t>. </a:t>
            </a:r>
            <a:r>
              <a:rPr lang="ko-KR" altLang="en-US" sz="1500" dirty="0"/>
              <a:t>이런 접근 방식은 비효율적</a:t>
            </a:r>
            <a:r>
              <a:rPr lang="en-US" altLang="ko-KR" sz="1500" dirty="0"/>
              <a:t>.</a:t>
            </a:r>
          </a:p>
          <a:p>
            <a:r>
              <a:rPr lang="en-US" altLang="ko-KR" sz="1500" dirty="0"/>
              <a:t>(</a:t>
            </a:r>
            <a:r>
              <a:rPr lang="ko-KR" altLang="en-US" sz="1500" dirty="0"/>
              <a:t>모든 가중치 행렬의 원소마다 두 번의 </a:t>
            </a:r>
            <a:r>
              <a:rPr lang="ko-KR" altLang="en-US" sz="1500" dirty="0" err="1"/>
              <a:t>정방향</a:t>
            </a:r>
            <a:r>
              <a:rPr lang="ko-KR" altLang="en-US" sz="1500" dirty="0"/>
              <a:t> 패스를 계산해야 함</a:t>
            </a:r>
            <a:r>
              <a:rPr lang="en-US" altLang="ko-KR" sz="1500" dirty="0"/>
              <a:t>.)</a:t>
            </a:r>
            <a:endParaRPr lang="ko-KR" altLang="en-US" sz="15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1EDF0E-E07B-44B7-98E0-A95EDB22430A}"/>
              </a:ext>
            </a:extLst>
          </p:cNvPr>
          <p:cNvSpPr txBox="1"/>
          <p:nvPr/>
        </p:nvSpPr>
        <p:spPr>
          <a:xfrm>
            <a:off x="539552" y="4521419"/>
            <a:ext cx="831814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Times New Roman" panose="02020603050405020304" pitchFamily="18" charset="0"/>
              </a:rPr>
              <a:t>『</a:t>
            </a:r>
            <a:r>
              <a:rPr lang="ko-KR" altLang="ko-KR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Times New Roman" panose="02020603050405020304" pitchFamily="18" charset="0"/>
              </a:rPr>
              <a:t>신경망에 사용된 모든 연산이 미분 가능하다는 장점을 사용하여 </a:t>
            </a:r>
            <a:endParaRPr lang="en-US" altLang="ko-KR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r>
              <a:rPr lang="ko-KR" altLang="ko-KR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Times New Roman" panose="02020603050405020304" pitchFamily="18" charset="0"/>
              </a:rPr>
              <a:t>네트워크 가중치에 대한 손실의 </a:t>
            </a:r>
            <a:r>
              <a:rPr lang="ko-KR" altLang="ko-KR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Times New Roman" panose="02020603050405020304" pitchFamily="18" charset="0"/>
              </a:rPr>
              <a:t>그래디언트를</a:t>
            </a:r>
            <a:r>
              <a:rPr lang="ko-KR" altLang="ko-KR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Times New Roman" panose="02020603050405020304" pitchFamily="18" charset="0"/>
              </a:rPr>
              <a:t> 계산하는 것이 훨씬 더 좋은 방법입니다</a:t>
            </a:r>
            <a:r>
              <a:rPr lang="en-US" altLang="ko-KR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Times New Roman" panose="02020603050405020304" pitchFamily="18" charset="0"/>
              </a:rPr>
              <a:t>. 』</a:t>
            </a:r>
            <a:endParaRPr lang="ko-KR" alt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4216780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4.1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변화율이란</a:t>
            </a:r>
            <a:r>
              <a:rPr lang="en-US" altLang="ko-KR" sz="3000" dirty="0">
                <a:latin typeface="Sandoll 고딕Neo2유니 06 Bd" pitchFamily="34" charset="-127"/>
                <a:ea typeface="Sandoll 고딕Neo2유니 06 Bd" pitchFamily="34" charset="-127"/>
              </a:rPr>
              <a:t>?</a:t>
            </a:r>
            <a:endParaRPr lang="ko-KR" altLang="en-US" sz="3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EB3B6C3-AE72-49C5-8432-88211A55B299}"/>
              </a:ext>
            </a:extLst>
          </p:cNvPr>
          <p:cNvSpPr txBox="1"/>
          <p:nvPr/>
        </p:nvSpPr>
        <p:spPr>
          <a:xfrm>
            <a:off x="771911" y="1844824"/>
            <a:ext cx="6100480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300" b="1" dirty="0"/>
              <a:t>f(</a:t>
            </a:r>
            <a:r>
              <a:rPr lang="ko-KR" altLang="en-US" sz="2300" b="1" dirty="0"/>
              <a:t> </a:t>
            </a:r>
            <a:r>
              <a:rPr lang="en-US" altLang="ko-KR" sz="2300" b="1" dirty="0"/>
              <a:t>x</a:t>
            </a:r>
            <a:r>
              <a:rPr lang="ko-KR" altLang="en-US" sz="2300" b="1" dirty="0"/>
              <a:t> </a:t>
            </a:r>
            <a:r>
              <a:rPr lang="en-US" altLang="ko-KR" sz="2300" b="1" dirty="0"/>
              <a:t>+</a:t>
            </a:r>
            <a:r>
              <a:rPr lang="ko-KR" altLang="en-US" sz="2300" b="1" dirty="0"/>
              <a:t> </a:t>
            </a:r>
            <a:r>
              <a:rPr lang="en-US" altLang="ko-KR" sz="2300" b="1" dirty="0" err="1"/>
              <a:t>epsilon_x</a:t>
            </a:r>
            <a:r>
              <a:rPr lang="en-US" altLang="ko-KR" sz="2300" b="1" dirty="0"/>
              <a:t>)</a:t>
            </a:r>
            <a:r>
              <a:rPr lang="ko-KR" altLang="en-US" sz="2300" b="1" dirty="0"/>
              <a:t> </a:t>
            </a:r>
            <a:r>
              <a:rPr lang="en-US" altLang="ko-KR" sz="2300" b="1" dirty="0"/>
              <a:t>=</a:t>
            </a:r>
            <a:r>
              <a:rPr lang="ko-KR" altLang="en-US" sz="2300" b="1" dirty="0"/>
              <a:t> </a:t>
            </a:r>
            <a:r>
              <a:rPr lang="en-US" altLang="ko-KR" sz="2300" b="1" dirty="0"/>
              <a:t>y</a:t>
            </a:r>
            <a:r>
              <a:rPr lang="ko-KR" altLang="en-US" sz="2300" b="1" dirty="0"/>
              <a:t> </a:t>
            </a:r>
            <a:r>
              <a:rPr lang="en-US" altLang="ko-KR" sz="2300" b="1" dirty="0"/>
              <a:t>+</a:t>
            </a:r>
            <a:r>
              <a:rPr lang="ko-KR" altLang="en-US" sz="2300" b="1" dirty="0"/>
              <a:t> </a:t>
            </a:r>
            <a:r>
              <a:rPr lang="en-US" altLang="ko-KR" sz="2300" b="1" dirty="0"/>
              <a:t>a</a:t>
            </a:r>
            <a:r>
              <a:rPr lang="ko-KR" altLang="en-US" sz="2300" b="1" dirty="0"/>
              <a:t> </a:t>
            </a:r>
            <a:r>
              <a:rPr lang="en-US" altLang="ko-KR" sz="2300" b="1" dirty="0"/>
              <a:t>*</a:t>
            </a:r>
            <a:r>
              <a:rPr lang="ko-KR" altLang="en-US" sz="2300" b="1" dirty="0"/>
              <a:t> </a:t>
            </a:r>
            <a:r>
              <a:rPr lang="en-US" altLang="ko-KR" sz="2300" b="1" dirty="0" err="1"/>
              <a:t>epsilon_x</a:t>
            </a:r>
            <a:endParaRPr lang="ko-KR" altLang="en-US" sz="2300" b="1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A4308A2A-D380-4B8E-B8C6-A159FE381F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2904" y="2727627"/>
            <a:ext cx="3609036" cy="252067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E96DB85-8222-4317-AE53-20A675152BD8}"/>
              </a:ext>
            </a:extLst>
          </p:cNvPr>
          <p:cNvSpPr txBox="1"/>
          <p:nvPr/>
        </p:nvSpPr>
        <p:spPr>
          <a:xfrm>
            <a:off x="4994920" y="2768496"/>
            <a:ext cx="3726160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latinLnBrk="1"/>
            <a:r>
              <a:rPr lang="en-US" altLang="ko-KR" sz="1800" u="sng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a</a:t>
            </a:r>
            <a:r>
              <a:rPr lang="ko-KR" altLang="ko-KR" sz="1800" u="sng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가 음수일 때</a:t>
            </a:r>
            <a:r>
              <a:rPr lang="en-US" altLang="ko-KR" sz="1800" u="sng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</a:t>
            </a:r>
          </a:p>
          <a:p>
            <a:pPr algn="just" latinLnBrk="1"/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p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에서 양수 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x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만큼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이동하면 </a:t>
            </a:r>
            <a:endParaRPr lang="en-US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/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f(x)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가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감소</a:t>
            </a:r>
            <a:endParaRPr lang="en-US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/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/>
            <a:r>
              <a:rPr lang="en-US" altLang="ko-KR" sz="1800" u="sng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a</a:t>
            </a:r>
            <a:r>
              <a:rPr lang="ko-KR" altLang="ko-KR" sz="1800" u="sng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가 양수 일 때</a:t>
            </a:r>
            <a:r>
              <a:rPr lang="en-US" altLang="ko-KR" sz="1800" u="sng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</a:t>
            </a:r>
          </a:p>
          <a:p>
            <a:pPr algn="just" latinLnBrk="1"/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P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에서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음수 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x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만큼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이동하면</a:t>
            </a:r>
            <a:endParaRPr lang="en-US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/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f(x)</a:t>
            </a:r>
            <a:r>
              <a:rPr lang="ko-KR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가 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감소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22422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4.2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000" dirty="0" err="1">
                <a:latin typeface="Sandoll 고딕Neo2유니 06 Bd" pitchFamily="34" charset="-127"/>
                <a:ea typeface="Sandoll 고딕Neo2유니 06 Bd" pitchFamily="34" charset="-127"/>
              </a:rPr>
              <a:t>텐서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연산의 변화율</a:t>
            </a:r>
            <a:r>
              <a:rPr lang="en-US" altLang="ko-KR" sz="30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3000" dirty="0" err="1">
                <a:latin typeface="Sandoll 고딕Neo2유니 06 Bd" pitchFamily="34" charset="-127"/>
                <a:ea typeface="Sandoll 고딕Neo2유니 06 Bd" pitchFamily="34" charset="-127"/>
              </a:rPr>
              <a:t>그래디언트</a:t>
            </a:r>
            <a:endParaRPr lang="ko-KR" altLang="en-US" sz="3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EB5E0FC-C5C6-4A3B-A245-369CEE0A8DA6}"/>
              </a:ext>
            </a:extLst>
          </p:cNvPr>
          <p:cNvSpPr txBox="1"/>
          <p:nvPr/>
        </p:nvSpPr>
        <p:spPr>
          <a:xfrm>
            <a:off x="523891" y="1557662"/>
            <a:ext cx="676875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 err="1"/>
              <a:t>그래디언트는</a:t>
            </a:r>
            <a:r>
              <a:rPr lang="ko-KR" altLang="en-US" b="1" dirty="0"/>
              <a:t> </a:t>
            </a:r>
            <a:r>
              <a:rPr lang="ko-KR" altLang="en-US" b="1" dirty="0" err="1"/>
              <a:t>텐서</a:t>
            </a:r>
            <a:r>
              <a:rPr lang="ko-KR" altLang="en-US" b="1" dirty="0"/>
              <a:t> 연산의 변화율</a:t>
            </a:r>
            <a:endParaRPr lang="en-US" altLang="ko-KR" b="1" dirty="0"/>
          </a:p>
          <a:p>
            <a:endParaRPr lang="en-US" altLang="ko-KR" dirty="0"/>
          </a:p>
          <a:p>
            <a:r>
              <a:rPr lang="en-US" altLang="ko-KR" dirty="0" err="1"/>
              <a:t>y_pred</a:t>
            </a:r>
            <a:r>
              <a:rPr lang="en-US" altLang="ko-KR" dirty="0"/>
              <a:t> = dot(W, x)</a:t>
            </a:r>
          </a:p>
          <a:p>
            <a:r>
              <a:rPr lang="en-US" altLang="ko-KR" dirty="0" err="1"/>
              <a:t>loss_value</a:t>
            </a:r>
            <a:r>
              <a:rPr lang="en-US" altLang="ko-KR" dirty="0"/>
              <a:t> = loss(</a:t>
            </a:r>
            <a:r>
              <a:rPr lang="en-US" altLang="ko-KR" dirty="0" err="1"/>
              <a:t>y_pred</a:t>
            </a:r>
            <a:r>
              <a:rPr lang="en-US" altLang="ko-KR" dirty="0"/>
              <a:t>, y)</a:t>
            </a:r>
            <a:endParaRPr lang="ko-KR" alt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E0D3104-D26A-467A-844F-6A03BF392448}"/>
              </a:ext>
            </a:extLst>
          </p:cNvPr>
          <p:cNvSpPr txBox="1"/>
          <p:nvPr/>
        </p:nvSpPr>
        <p:spPr>
          <a:xfrm>
            <a:off x="523891" y="3284984"/>
            <a:ext cx="835292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입력</a:t>
            </a:r>
            <a:r>
              <a:rPr lang="en-US" altLang="ko-KR" b="1" dirty="0"/>
              <a:t> </a:t>
            </a:r>
            <a:r>
              <a:rPr lang="ko-KR" altLang="en-US" b="1" dirty="0"/>
              <a:t>데이터 </a:t>
            </a:r>
            <a:r>
              <a:rPr lang="en-US" altLang="ko-KR" b="1" dirty="0"/>
              <a:t>x</a:t>
            </a:r>
            <a:r>
              <a:rPr lang="ko-KR" altLang="en-US" b="1" dirty="0"/>
              <a:t>와 </a:t>
            </a:r>
            <a:r>
              <a:rPr lang="en-US" altLang="ko-KR" b="1" dirty="0"/>
              <a:t>y</a:t>
            </a:r>
            <a:r>
              <a:rPr lang="ko-KR" altLang="en-US" b="1" dirty="0"/>
              <a:t>가 고정되어 있다면 이 함수는 </a:t>
            </a:r>
            <a:r>
              <a:rPr lang="en-US" altLang="ko-KR" b="1" dirty="0"/>
              <a:t>W</a:t>
            </a:r>
            <a:r>
              <a:rPr lang="ko-KR" altLang="en-US" b="1" dirty="0"/>
              <a:t>를 손실 값에 매핑하는 함수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en-US" altLang="ko-KR" dirty="0" err="1"/>
              <a:t>loss_value</a:t>
            </a:r>
            <a:r>
              <a:rPr lang="en-US" altLang="ko-KR" dirty="0"/>
              <a:t> = f(W)</a:t>
            </a:r>
          </a:p>
          <a:p>
            <a:endParaRPr lang="en-US" altLang="ko-KR" dirty="0"/>
          </a:p>
          <a:p>
            <a:r>
              <a:rPr lang="ko-KR" altLang="en-US" sz="1800" dirty="0"/>
              <a:t>→ </a:t>
            </a:r>
            <a:r>
              <a:rPr lang="en-US" altLang="ko-KR" sz="1800" dirty="0">
                <a:effectLst/>
                <a:latin typeface="맑은 고딕" panose="020B0503020000020004" pitchFamily="50" charset="-127"/>
                <a:cs typeface="Times New Roman" panose="02020603050405020304" pitchFamily="18" charset="0"/>
              </a:rPr>
              <a:t>gradient(f)(W0)</a:t>
            </a:r>
            <a:r>
              <a:rPr lang="ko-KR" altLang="en-US" sz="1800" dirty="0">
                <a:effectLst/>
                <a:latin typeface="맑은 고딕" panose="020B0503020000020004" pitchFamily="50" charset="-127"/>
                <a:cs typeface="Times New Roman" panose="02020603050405020304" pitchFamily="18" charset="0"/>
              </a:rPr>
              <a:t>가 </a:t>
            </a:r>
            <a:r>
              <a:rPr lang="en-US" altLang="ko-KR" sz="1800" dirty="0">
                <a:effectLst/>
                <a:latin typeface="맑은 고딕" panose="020B0503020000020004" pitchFamily="50" charset="-127"/>
                <a:cs typeface="Times New Roman" panose="02020603050405020304" pitchFamily="18" charset="0"/>
              </a:rPr>
              <a:t>W0</a:t>
            </a:r>
            <a:r>
              <a:rPr lang="ko-KR" altLang="en-US" sz="1800" dirty="0">
                <a:effectLst/>
                <a:latin typeface="맑은 고딕" panose="020B0503020000020004" pitchFamily="50" charset="-127"/>
                <a:cs typeface="Times New Roman" panose="02020603050405020304" pitchFamily="18" charset="0"/>
              </a:rPr>
              <a:t>에서 함수 </a:t>
            </a:r>
            <a:r>
              <a:rPr lang="en-US" altLang="ko-KR" sz="1800" dirty="0">
                <a:effectLst/>
                <a:latin typeface="맑은 고딕" panose="020B0503020000020004" pitchFamily="50" charset="-127"/>
                <a:cs typeface="Times New Roman" panose="02020603050405020304" pitchFamily="18" charset="0"/>
              </a:rPr>
              <a:t>f(W) = </a:t>
            </a:r>
            <a:r>
              <a:rPr lang="en-US" altLang="ko-KR" sz="1800" dirty="0" err="1">
                <a:effectLst/>
                <a:latin typeface="맑은 고딕" panose="020B0503020000020004" pitchFamily="50" charset="-127"/>
                <a:cs typeface="Times New Roman" panose="02020603050405020304" pitchFamily="18" charset="0"/>
              </a:rPr>
              <a:t>loss_value</a:t>
            </a:r>
            <a:r>
              <a:rPr lang="ko-KR" altLang="en-US" sz="1800" dirty="0">
                <a:effectLst/>
                <a:latin typeface="맑은 고딕" panose="020B0503020000020004" pitchFamily="50" charset="-127"/>
                <a:cs typeface="Times New Roman" panose="02020603050405020304" pitchFamily="18" charset="0"/>
              </a:rPr>
              <a:t>의 </a:t>
            </a:r>
            <a:r>
              <a:rPr lang="ko-KR" altLang="en-US" sz="1800" dirty="0" err="1">
                <a:effectLst/>
                <a:latin typeface="맑은 고딕" panose="020B0503020000020004" pitchFamily="50" charset="-127"/>
                <a:cs typeface="Times New Roman" panose="02020603050405020304" pitchFamily="18" charset="0"/>
              </a:rPr>
              <a:t>그래디언트</a:t>
            </a:r>
            <a:endParaRPr lang="en-US" altLang="ko-KR" sz="1800" dirty="0">
              <a:effectLst/>
              <a:latin typeface="맑은 고딕" panose="020B0503020000020004" pitchFamily="50" charset="-127"/>
              <a:cs typeface="Times New Roman" panose="02020603050405020304" pitchFamily="18" charset="0"/>
            </a:endParaRPr>
          </a:p>
          <a:p>
            <a:endParaRPr lang="en-US" altLang="ko-KR" dirty="0">
              <a:latin typeface="맑은 고딕" panose="020B0503020000020004" pitchFamily="50" charset="-127"/>
              <a:cs typeface="Times New Roman" panose="02020603050405020304" pitchFamily="18" charset="0"/>
            </a:endParaRPr>
          </a:p>
          <a:p>
            <a:endParaRPr lang="en-US" altLang="ko-KR" dirty="0">
              <a:latin typeface="맑은 고딕" panose="020B0503020000020004" pitchFamily="50" charset="-127"/>
              <a:cs typeface="Times New Roman" panose="02020603050405020304" pitchFamily="18" charset="0"/>
            </a:endParaRPr>
          </a:p>
          <a:p>
            <a:r>
              <a:rPr lang="ko-KR" altLang="en-US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함수 </a:t>
            </a:r>
            <a:r>
              <a:rPr lang="en-US" altLang="ko-KR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f(x)</a:t>
            </a:r>
            <a:r>
              <a:rPr lang="ko-KR" altLang="en-US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를 변화율의 반대 방향으로 </a:t>
            </a:r>
            <a:r>
              <a:rPr lang="en-US" altLang="ko-KR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x</a:t>
            </a:r>
            <a:r>
              <a:rPr lang="ko-KR" altLang="en-US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를 움직이면 </a:t>
            </a:r>
            <a:r>
              <a:rPr lang="en-US" altLang="ko-KR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f(x)</a:t>
            </a:r>
            <a:r>
              <a:rPr lang="ko-KR" altLang="en-US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의 값을 감소 시킬 수 있음</a:t>
            </a:r>
            <a:r>
              <a:rPr lang="en-US" altLang="ko-KR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.</a:t>
            </a:r>
          </a:p>
          <a:p>
            <a:r>
              <a:rPr lang="en-US" altLang="ko-KR" sz="1500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(</a:t>
            </a:r>
            <a:r>
              <a:rPr lang="ko-KR" altLang="en-US" sz="1500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스케일링 비율인 </a:t>
            </a:r>
            <a:r>
              <a:rPr lang="en-US" altLang="ko-KR" sz="1500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step</a:t>
            </a:r>
            <a:r>
              <a:rPr lang="ko-KR" altLang="en-US" sz="1500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값을 잘 설정해야 한다</a:t>
            </a:r>
            <a:r>
              <a:rPr lang="en-US" altLang="ko-KR" sz="1500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.)</a:t>
            </a:r>
            <a:endParaRPr lang="en-US" altLang="ko-KR" sz="1500" i="1" dirty="0"/>
          </a:p>
        </p:txBody>
      </p:sp>
    </p:spTree>
    <p:extLst>
      <p:ext uri="{BB962C8B-B14F-4D97-AF65-F5344CB8AC3E}">
        <p14:creationId xmlns:p14="http://schemas.microsoft.com/office/powerpoint/2010/main" val="15898703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4.3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확률적 경사 </a:t>
            </a:r>
            <a:r>
              <a:rPr lang="ko-KR" altLang="en-US" sz="3000" dirty="0" err="1">
                <a:latin typeface="Sandoll 고딕Neo2유니 06 Bd" pitchFamily="34" charset="-127"/>
                <a:ea typeface="Sandoll 고딕Neo2유니 06 Bd" pitchFamily="34" charset="-127"/>
              </a:rPr>
              <a:t>하강법</a:t>
            </a:r>
            <a:endParaRPr lang="ko-KR" altLang="en-US" sz="3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0D54C38-189A-4055-AE98-50383F00F71D}"/>
              </a:ext>
            </a:extLst>
          </p:cNvPr>
          <p:cNvSpPr txBox="1"/>
          <p:nvPr/>
        </p:nvSpPr>
        <p:spPr>
          <a:xfrm>
            <a:off x="463497" y="1610527"/>
            <a:ext cx="8496944" cy="27092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200000"/>
              </a:lnSpc>
              <a:buFont typeface="+mj-lt"/>
              <a:buAutoNum type="arabicPeriod"/>
            </a:pPr>
            <a:r>
              <a:rPr lang="ko-KR" altLang="en-US" sz="1500" b="0" i="0" dirty="0">
                <a:solidFill>
                  <a:srgbClr val="494E52"/>
                </a:solidFill>
                <a:effectLst/>
                <a:latin typeface="-apple-system"/>
              </a:rPr>
              <a:t> 훈련 샘플 </a:t>
            </a:r>
            <a:r>
              <a:rPr lang="en-US" altLang="ko-KR" sz="1500" b="0" i="0" dirty="0">
                <a:solidFill>
                  <a:srgbClr val="494E52"/>
                </a:solidFill>
                <a:effectLst/>
                <a:latin typeface="-apple-system"/>
              </a:rPr>
              <a:t>x</a:t>
            </a:r>
            <a:r>
              <a:rPr lang="ko-KR" altLang="en-US" sz="1500" b="0" i="0" dirty="0">
                <a:solidFill>
                  <a:srgbClr val="494E52"/>
                </a:solidFill>
                <a:effectLst/>
                <a:latin typeface="-apple-system"/>
              </a:rPr>
              <a:t>와 상응하는 타깃 </a:t>
            </a:r>
            <a:r>
              <a:rPr lang="en-US" altLang="ko-KR" sz="1500" b="0" i="0" dirty="0">
                <a:solidFill>
                  <a:srgbClr val="494E52"/>
                </a:solidFill>
                <a:effectLst/>
                <a:latin typeface="-apple-system"/>
              </a:rPr>
              <a:t>y</a:t>
            </a:r>
            <a:r>
              <a:rPr lang="ko-KR" altLang="en-US" sz="1500" b="0" i="0" dirty="0">
                <a:solidFill>
                  <a:srgbClr val="494E52"/>
                </a:solidFill>
                <a:effectLst/>
                <a:latin typeface="-apple-system"/>
              </a:rPr>
              <a:t>의 배치를 추출합니다</a:t>
            </a:r>
            <a:r>
              <a:rPr lang="en-US" altLang="ko-KR" sz="1500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</a:p>
          <a:p>
            <a:pPr algn="l">
              <a:lnSpc>
                <a:spcPct val="200000"/>
              </a:lnSpc>
              <a:buFont typeface="+mj-lt"/>
              <a:buAutoNum type="arabicPeriod"/>
            </a:pPr>
            <a:r>
              <a:rPr lang="en-US" altLang="ko-KR" sz="1500" b="0" i="0" dirty="0">
                <a:solidFill>
                  <a:srgbClr val="494E52"/>
                </a:solidFill>
                <a:effectLst/>
                <a:latin typeface="-apple-system"/>
              </a:rPr>
              <a:t> x</a:t>
            </a:r>
            <a:r>
              <a:rPr lang="ko-KR" altLang="en-US" sz="1500" b="0" i="0" dirty="0">
                <a:solidFill>
                  <a:srgbClr val="494E52"/>
                </a:solidFill>
                <a:effectLst/>
                <a:latin typeface="-apple-system"/>
              </a:rPr>
              <a:t>를 사용하여 네트워크를 실행하고</a:t>
            </a:r>
            <a:r>
              <a:rPr lang="en-US" altLang="ko-KR" sz="1500" b="0" i="0" dirty="0">
                <a:solidFill>
                  <a:srgbClr val="494E52"/>
                </a:solidFill>
                <a:effectLst/>
                <a:latin typeface="-apple-system"/>
              </a:rPr>
              <a:t>, </a:t>
            </a:r>
            <a:r>
              <a:rPr lang="ko-KR" altLang="en-US" sz="1500" b="0" i="0" dirty="0" err="1">
                <a:solidFill>
                  <a:srgbClr val="494E52"/>
                </a:solidFill>
                <a:effectLst/>
                <a:latin typeface="-apple-system"/>
              </a:rPr>
              <a:t>예측값을</a:t>
            </a:r>
            <a:r>
              <a:rPr lang="ko-KR" altLang="en-US" sz="1500" b="0" i="0" dirty="0">
                <a:solidFill>
                  <a:srgbClr val="494E52"/>
                </a:solidFill>
                <a:effectLst/>
                <a:latin typeface="-apple-system"/>
              </a:rPr>
              <a:t> 구합니다</a:t>
            </a:r>
            <a:r>
              <a:rPr lang="en-US" altLang="ko-KR" sz="1500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</a:p>
          <a:p>
            <a:pPr algn="l">
              <a:lnSpc>
                <a:spcPct val="200000"/>
              </a:lnSpc>
              <a:buFont typeface="+mj-lt"/>
              <a:buAutoNum type="arabicPeriod"/>
            </a:pPr>
            <a:r>
              <a:rPr lang="ko-KR" altLang="en-US" sz="1500" b="0" i="0" dirty="0">
                <a:solidFill>
                  <a:srgbClr val="494E52"/>
                </a:solidFill>
                <a:effectLst/>
                <a:latin typeface="-apple-system"/>
              </a:rPr>
              <a:t> </a:t>
            </a:r>
            <a:r>
              <a:rPr lang="ko-KR" altLang="en-US" sz="1500" b="0" i="0" dirty="0" err="1">
                <a:solidFill>
                  <a:srgbClr val="494E52"/>
                </a:solidFill>
                <a:effectLst/>
                <a:latin typeface="-apple-system"/>
              </a:rPr>
              <a:t>실제값과</a:t>
            </a:r>
            <a:r>
              <a:rPr lang="ko-KR" altLang="en-US" sz="1500" b="0" i="0" dirty="0">
                <a:solidFill>
                  <a:srgbClr val="494E52"/>
                </a:solidFill>
                <a:effectLst/>
                <a:latin typeface="-apple-system"/>
              </a:rPr>
              <a:t> </a:t>
            </a:r>
            <a:r>
              <a:rPr lang="ko-KR" altLang="en-US" sz="1500" b="0" i="0" dirty="0" err="1">
                <a:solidFill>
                  <a:srgbClr val="494E52"/>
                </a:solidFill>
                <a:effectLst/>
                <a:latin typeface="-apple-system"/>
              </a:rPr>
              <a:t>예측값의</a:t>
            </a:r>
            <a:r>
              <a:rPr lang="ko-KR" altLang="en-US" sz="1500" b="0" i="0" dirty="0">
                <a:solidFill>
                  <a:srgbClr val="494E52"/>
                </a:solidFill>
                <a:effectLst/>
                <a:latin typeface="-apple-system"/>
              </a:rPr>
              <a:t> 차이로 현재 배치의 네트워크에 대한 손실을 계산합니다</a:t>
            </a:r>
            <a:r>
              <a:rPr lang="en-US" altLang="ko-KR" sz="1500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</a:p>
          <a:p>
            <a:pPr algn="l">
              <a:lnSpc>
                <a:spcPct val="200000"/>
              </a:lnSpc>
              <a:buFont typeface="+mj-lt"/>
              <a:buAutoNum type="arabicPeriod"/>
            </a:pPr>
            <a:r>
              <a:rPr lang="ko-KR" altLang="en-US" sz="1500" b="0" i="0" dirty="0">
                <a:solidFill>
                  <a:srgbClr val="494E52"/>
                </a:solidFill>
                <a:effectLst/>
                <a:latin typeface="-apple-system"/>
              </a:rPr>
              <a:t> </a:t>
            </a:r>
            <a:r>
              <a:rPr lang="ko-KR" altLang="en-US" sz="1500" dirty="0">
                <a:solidFill>
                  <a:srgbClr val="494E52"/>
                </a:solidFill>
                <a:latin typeface="-apple-system"/>
              </a:rPr>
              <a:t>이</a:t>
            </a:r>
            <a:r>
              <a:rPr lang="ko-KR" altLang="en-US" sz="1500" b="0" i="0" dirty="0">
                <a:solidFill>
                  <a:srgbClr val="494E52"/>
                </a:solidFill>
                <a:effectLst/>
                <a:latin typeface="-apple-system"/>
              </a:rPr>
              <a:t> 배치에 대한 손실이 감소하도록 네트워크의 가중치를 업데이트합니다</a:t>
            </a:r>
            <a:r>
              <a:rPr lang="en-US" altLang="ko-KR" sz="1500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</a:p>
          <a:p>
            <a:pPr algn="l">
              <a:lnSpc>
                <a:spcPct val="200000"/>
              </a:lnSpc>
              <a:buFont typeface="+mj-lt"/>
              <a:buAutoNum type="arabicPeriod"/>
            </a:pPr>
            <a:r>
              <a:rPr lang="en-US" altLang="ko-KR" sz="1500" dirty="0">
                <a:solidFill>
                  <a:srgbClr val="494E52"/>
                </a:solidFill>
                <a:latin typeface="-apple-system"/>
              </a:rPr>
              <a:t> </a:t>
            </a:r>
            <a:r>
              <a:rPr lang="ko-KR" altLang="en-US" sz="1500" dirty="0" err="1">
                <a:solidFill>
                  <a:srgbClr val="494E52"/>
                </a:solidFill>
                <a:latin typeface="-apple-system"/>
              </a:rPr>
              <a:t>그래디언트의</a:t>
            </a:r>
            <a:r>
              <a:rPr lang="ko-KR" altLang="en-US" sz="1500" dirty="0">
                <a:solidFill>
                  <a:srgbClr val="494E52"/>
                </a:solidFill>
                <a:latin typeface="-apple-system"/>
              </a:rPr>
              <a:t> 반대 방향으로 파라미터를 조금 이동시킵니다</a:t>
            </a:r>
            <a:r>
              <a:rPr lang="en-US" altLang="ko-KR" sz="1500" dirty="0">
                <a:solidFill>
                  <a:srgbClr val="494E52"/>
                </a:solidFill>
                <a:latin typeface="-apple-system"/>
              </a:rPr>
              <a:t>. </a:t>
            </a:r>
          </a:p>
          <a:p>
            <a:pPr algn="l">
              <a:lnSpc>
                <a:spcPct val="150000"/>
              </a:lnSpc>
            </a:pPr>
            <a:r>
              <a:rPr lang="en-US" altLang="ko-KR" sz="1500" b="0" i="0" dirty="0">
                <a:solidFill>
                  <a:srgbClr val="494E52"/>
                </a:solidFill>
                <a:effectLst/>
                <a:latin typeface="-apple-system"/>
              </a:rPr>
              <a:t> (W -= step * gradient </a:t>
            </a:r>
            <a:r>
              <a:rPr lang="en-US" altLang="ko-KR" sz="1500" dirty="0">
                <a:solidFill>
                  <a:srgbClr val="494E52"/>
                </a:solidFill>
                <a:latin typeface="-apple-system"/>
              </a:rPr>
              <a:t>,</a:t>
            </a:r>
            <a:r>
              <a:rPr lang="ko-KR" altLang="en-US" sz="1500" dirty="0">
                <a:solidFill>
                  <a:srgbClr val="494E52"/>
                </a:solidFill>
                <a:latin typeface="-apple-system"/>
              </a:rPr>
              <a:t> 배치에 대한 손실 감소</a:t>
            </a:r>
            <a:r>
              <a:rPr lang="en-US" altLang="ko-KR" sz="1500" dirty="0">
                <a:solidFill>
                  <a:srgbClr val="494E52"/>
                </a:solidFill>
                <a:latin typeface="-apple-system"/>
              </a:rPr>
              <a:t>)</a:t>
            </a:r>
            <a:endParaRPr lang="en-US" altLang="ko-KR" sz="1500" b="0" i="0" dirty="0">
              <a:solidFill>
                <a:srgbClr val="494E52"/>
              </a:solidFill>
              <a:effectLst/>
              <a:latin typeface="-apple-system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218194-65E3-4452-9F6F-D7DF9CDD1CA5}"/>
              </a:ext>
            </a:extLst>
          </p:cNvPr>
          <p:cNvSpPr txBox="1"/>
          <p:nvPr/>
        </p:nvSpPr>
        <p:spPr>
          <a:xfrm>
            <a:off x="463497" y="1238836"/>
            <a:ext cx="81369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미니 배치 확률적 경사 </a:t>
            </a:r>
            <a:r>
              <a:rPr lang="ko-KR" alt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하강법</a:t>
            </a:r>
            <a:r>
              <a:rPr lang="en-US" altLang="ko-K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</a:t>
            </a:r>
            <a:r>
              <a:rPr lang="ko-KR" alt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미니 배치 </a:t>
            </a:r>
            <a:r>
              <a:rPr lang="en-US" altLang="ko-K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GD)</a:t>
            </a:r>
            <a:endParaRPr lang="ko-KR" alt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988B7132-49CC-4CD4-9699-7D90416955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12160" y="3874830"/>
            <a:ext cx="2953598" cy="278154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F5CF351-9C40-4420-9A0C-AEBA35035C48}"/>
              </a:ext>
            </a:extLst>
          </p:cNvPr>
          <p:cNvSpPr txBox="1"/>
          <p:nvPr/>
        </p:nvSpPr>
        <p:spPr>
          <a:xfrm>
            <a:off x="1115616" y="6235134"/>
            <a:ext cx="468052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300" dirty="0"/>
              <a:t>SGD</a:t>
            </a:r>
            <a:r>
              <a:rPr lang="ko-KR" altLang="en-US" sz="1300" dirty="0"/>
              <a:t>가 </a:t>
            </a:r>
            <a:r>
              <a:rPr lang="en-US" altLang="ko-KR" sz="1300" dirty="0"/>
              <a:t>1D </a:t>
            </a:r>
            <a:r>
              <a:rPr lang="ko-KR" altLang="en-US" sz="1300" dirty="0"/>
              <a:t>손실 함수</a:t>
            </a:r>
            <a:r>
              <a:rPr lang="en-US" altLang="ko-KR" sz="1300" dirty="0"/>
              <a:t>(1</a:t>
            </a:r>
            <a:r>
              <a:rPr lang="ko-KR" altLang="en-US" sz="1300" dirty="0"/>
              <a:t>개의 학습 파라미터</a:t>
            </a:r>
            <a:r>
              <a:rPr lang="en-US" altLang="ko-KR" sz="1300" dirty="0"/>
              <a:t>)</a:t>
            </a:r>
            <a:r>
              <a:rPr lang="ko-KR" altLang="en-US" sz="1300" dirty="0"/>
              <a:t>의 값을 낮춘다 </a:t>
            </a:r>
            <a:r>
              <a:rPr lang="ko-KR" altLang="en-US" sz="1300" b="1" dirty="0"/>
              <a:t>≫</a:t>
            </a:r>
          </a:p>
        </p:txBody>
      </p:sp>
    </p:spTree>
    <p:extLst>
      <p:ext uri="{BB962C8B-B14F-4D97-AF65-F5344CB8AC3E}">
        <p14:creationId xmlns:p14="http://schemas.microsoft.com/office/powerpoint/2010/main" val="8207735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4.3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확률적 경사 </a:t>
            </a:r>
            <a:r>
              <a:rPr lang="ko-KR" altLang="en-US" sz="3000" dirty="0" err="1">
                <a:latin typeface="Sandoll 고딕Neo2유니 06 Bd" pitchFamily="34" charset="-127"/>
                <a:ea typeface="Sandoll 고딕Neo2유니 06 Bd" pitchFamily="34" charset="-127"/>
              </a:rPr>
              <a:t>하강법</a:t>
            </a:r>
            <a:endParaRPr lang="ko-KR" altLang="en-US" sz="3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4AB14A-4B73-49F0-A6C0-1DB63A182436}"/>
              </a:ext>
            </a:extLst>
          </p:cNvPr>
          <p:cNvSpPr txBox="1"/>
          <p:nvPr/>
        </p:nvSpPr>
        <p:spPr>
          <a:xfrm>
            <a:off x="323528" y="1811286"/>
            <a:ext cx="856895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진정한</a:t>
            </a:r>
            <a:r>
              <a:rPr lang="en-US" altLang="ko-KR" b="1" dirty="0"/>
              <a:t>(true) SGD</a:t>
            </a:r>
          </a:p>
          <a:p>
            <a:r>
              <a:rPr lang="en-US" altLang="ko-KR" b="1" dirty="0"/>
              <a:t>▶ </a:t>
            </a:r>
            <a:r>
              <a:rPr lang="ko-KR" altLang="en-US" dirty="0"/>
              <a:t>미니 배치 </a:t>
            </a:r>
            <a:r>
              <a:rPr lang="en-US" altLang="ko-KR" dirty="0"/>
              <a:t>SGD </a:t>
            </a:r>
            <a:r>
              <a:rPr lang="ko-KR" altLang="en-US" dirty="0"/>
              <a:t>알고리즘의 변종</a:t>
            </a:r>
            <a:endParaRPr lang="en-US" altLang="ko-KR" dirty="0"/>
          </a:p>
          <a:p>
            <a:r>
              <a:rPr lang="en-US" altLang="ko-KR" dirty="0"/>
              <a:t>   -&gt; </a:t>
            </a:r>
            <a:r>
              <a:rPr lang="ko-KR" altLang="en-US" dirty="0"/>
              <a:t>반복마다 하나의 샘플과 하나의 타깃을 뽑는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b="1" dirty="0"/>
              <a:t>배치</a:t>
            </a:r>
            <a:r>
              <a:rPr lang="en-US" altLang="ko-KR" b="1" dirty="0"/>
              <a:t> SGD(batch SGD)</a:t>
            </a:r>
          </a:p>
          <a:p>
            <a:r>
              <a:rPr lang="en-US" altLang="ko-KR" b="1" dirty="0"/>
              <a:t>▶</a:t>
            </a:r>
            <a:r>
              <a:rPr lang="ko-KR" altLang="en-US" dirty="0"/>
              <a:t>극단적으로 반대의 경우는 가용한 모든 데이터를 사용하여 반복을 실행할 수 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0CCA83-D5CD-4978-8353-F64153839CBE}"/>
              </a:ext>
            </a:extLst>
          </p:cNvPr>
          <p:cNvSpPr txBox="1"/>
          <p:nvPr/>
        </p:nvSpPr>
        <p:spPr>
          <a:xfrm>
            <a:off x="323528" y="4623227"/>
            <a:ext cx="87275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u="sng" dirty="0">
                <a:solidFill>
                  <a:srgbClr val="103E92"/>
                </a:solidFill>
              </a:rPr>
              <a:t>절충안</a:t>
            </a:r>
            <a:r>
              <a:rPr lang="ko-KR" altLang="en-US" sz="2000" u="sng" dirty="0"/>
              <a:t>은 극단적인 두가지 방법의 적절한 크기의 미니 배치를 사용하는 것</a:t>
            </a:r>
          </a:p>
        </p:txBody>
      </p:sp>
    </p:spTree>
    <p:extLst>
      <p:ext uri="{BB962C8B-B14F-4D97-AF65-F5344CB8AC3E}">
        <p14:creationId xmlns:p14="http://schemas.microsoft.com/office/powerpoint/2010/main" val="28598085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4.3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확률적 경사 </a:t>
            </a:r>
            <a:r>
              <a:rPr lang="ko-KR" altLang="en-US" sz="3000" dirty="0" err="1">
                <a:latin typeface="Sandoll 고딕Neo2유니 06 Bd" pitchFamily="34" charset="-127"/>
                <a:ea typeface="Sandoll 고딕Neo2유니 06 Bd" pitchFamily="34" charset="-127"/>
              </a:rPr>
              <a:t>하강법</a:t>
            </a:r>
            <a:endParaRPr lang="ko-KR" altLang="en-US" sz="3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F81A0DA3-83EA-47F8-838E-8C6001E725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5576" y="1278472"/>
            <a:ext cx="4676775" cy="34480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E72FF6D-2662-480B-87DA-E6DD4560AD41}"/>
              </a:ext>
            </a:extLst>
          </p:cNvPr>
          <p:cNvSpPr txBox="1"/>
          <p:nvPr/>
        </p:nvSpPr>
        <p:spPr>
          <a:xfrm>
            <a:off x="683568" y="4726522"/>
            <a:ext cx="52565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/>
              <a:t>▲ 2D </a:t>
            </a:r>
            <a:r>
              <a:rPr lang="ko-KR" altLang="en-US" sz="1400" dirty="0"/>
              <a:t>손실 함수의 표면을 따라 진행하는 경사 </a:t>
            </a:r>
            <a:r>
              <a:rPr lang="ko-KR" altLang="en-US" sz="1400" dirty="0" err="1"/>
              <a:t>하강법</a:t>
            </a:r>
            <a:r>
              <a:rPr lang="ko-KR" altLang="en-US" sz="1400" dirty="0"/>
              <a:t> 시각화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7E238D8A-2617-475A-B4A5-C4F6936A2C83}"/>
                  </a:ext>
                </a:extLst>
              </p:cNvPr>
              <p:cNvSpPr txBox="1"/>
              <p:nvPr/>
            </p:nvSpPr>
            <p:spPr>
              <a:xfrm>
                <a:off x="233518" y="5229200"/>
                <a:ext cx="8676964" cy="129362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ko-KR" altLang="en-US" b="0" i="1" smtClean="0">
                        <a:solidFill>
                          <a:srgbClr val="424242"/>
                        </a:solidFill>
                        <a:effectLst/>
                        <a:latin typeface="Cambria Math" panose="02040503050406030204" pitchFamily="18" charset="0"/>
                      </a:rPr>
                      <m:t>∙</m:t>
                    </m:r>
                    <m:r>
                      <a:rPr lang="en-US" altLang="ko-KR" b="0" i="1" smtClean="0">
                        <a:solidFill>
                          <a:srgbClr val="424242"/>
                        </a:solidFill>
                        <a:effectLst/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ko-KR" altLang="en-US" b="0" i="0" dirty="0">
                    <a:solidFill>
                      <a:srgbClr val="424242"/>
                    </a:solidFill>
                    <a:effectLst/>
                    <a:latin typeface="gothic_l"/>
                  </a:rPr>
                  <a:t>입력 특성이 </a:t>
                </a:r>
                <a:r>
                  <a:rPr lang="en-US" altLang="ko-KR" b="0" i="0" dirty="0">
                    <a:solidFill>
                      <a:srgbClr val="424242"/>
                    </a:solidFill>
                    <a:effectLst/>
                    <a:latin typeface="gothic_l"/>
                  </a:rPr>
                  <a:t>2</a:t>
                </a:r>
                <a:r>
                  <a:rPr lang="ko-KR" altLang="en-US" b="0" i="0" dirty="0">
                    <a:solidFill>
                      <a:srgbClr val="424242"/>
                    </a:solidFill>
                    <a:effectLst/>
                    <a:latin typeface="gothic_l"/>
                  </a:rPr>
                  <a:t>개인</a:t>
                </a:r>
                <a:r>
                  <a:rPr lang="en-US" altLang="ko-KR" b="0" i="0" dirty="0">
                    <a:solidFill>
                      <a:srgbClr val="424242"/>
                    </a:solidFill>
                    <a:effectLst/>
                    <a:latin typeface="gothic_l"/>
                  </a:rPr>
                  <a:t>(2D) </a:t>
                </a:r>
                <a:r>
                  <a:rPr lang="ko-KR" altLang="en-US" b="0" i="0" dirty="0">
                    <a:solidFill>
                      <a:srgbClr val="424242"/>
                    </a:solidFill>
                    <a:effectLst/>
                    <a:latin typeface="gothic_l"/>
                  </a:rPr>
                  <a:t>손실 함수는 </a:t>
                </a:r>
                <a:r>
                  <a:rPr lang="en-US" altLang="ko-KR" b="0" i="0" dirty="0">
                    <a:solidFill>
                      <a:srgbClr val="424242"/>
                    </a:solidFill>
                    <a:effectLst/>
                    <a:latin typeface="gothic_l"/>
                  </a:rPr>
                  <a:t>3</a:t>
                </a:r>
                <a:r>
                  <a:rPr lang="ko-KR" altLang="en-US" b="0" i="0" dirty="0">
                    <a:solidFill>
                      <a:srgbClr val="424242"/>
                    </a:solidFill>
                    <a:effectLst/>
                    <a:latin typeface="gothic_l"/>
                  </a:rPr>
                  <a:t>차원으로 나타낼 수 있다</a:t>
                </a:r>
                <a:r>
                  <a:rPr lang="en-US" altLang="ko-KR" b="0" i="0" dirty="0">
                    <a:solidFill>
                      <a:srgbClr val="424242"/>
                    </a:solidFill>
                    <a:effectLst/>
                    <a:latin typeface="gothic_l"/>
                  </a:rPr>
                  <a:t>. </a:t>
                </a:r>
                <a:r>
                  <a:rPr lang="en-US" altLang="ko-KR" sz="1600" b="0" i="0" dirty="0">
                    <a:solidFill>
                      <a:srgbClr val="424242"/>
                    </a:solidFill>
                    <a:effectLst/>
                    <a:latin typeface="gothic_l"/>
                  </a:rPr>
                  <a:t>(</a:t>
                </a:r>
                <a:r>
                  <a:rPr lang="ko-KR" altLang="en-US" sz="1600" b="0" i="0" dirty="0">
                    <a:solidFill>
                      <a:srgbClr val="424242"/>
                    </a:solidFill>
                    <a:effectLst/>
                    <a:latin typeface="gothic_l"/>
                  </a:rPr>
                  <a:t>손실은 세로 축 방향</a:t>
                </a:r>
                <a:r>
                  <a:rPr lang="en-US" altLang="ko-KR" sz="1600" b="0" i="0" dirty="0">
                    <a:solidFill>
                      <a:srgbClr val="424242"/>
                    </a:solidFill>
                    <a:effectLst/>
                    <a:latin typeface="gothic_l"/>
                  </a:rPr>
                  <a:t>)</a:t>
                </a: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ko-KR" altLang="en-US" b="0" i="1" smtClean="0">
                        <a:solidFill>
                          <a:srgbClr val="424242"/>
                        </a:solidFill>
                        <a:effectLst/>
                        <a:latin typeface="Cambria Math" panose="02040503050406030204" pitchFamily="18" charset="0"/>
                      </a:rPr>
                      <m:t>∙ </m:t>
                    </m:r>
                  </m:oMath>
                </a14:m>
                <a:r>
                  <a:rPr lang="ko-KR" altLang="en-US" b="0" i="0" dirty="0">
                    <a:solidFill>
                      <a:srgbClr val="424242"/>
                    </a:solidFill>
                    <a:effectLst/>
                    <a:latin typeface="gothic_l"/>
                  </a:rPr>
                  <a:t>고차원 공간에서는 대부분 </a:t>
                </a:r>
                <a:r>
                  <a:rPr lang="ko-KR" altLang="en-US" b="0" i="0" dirty="0" err="1">
                    <a:solidFill>
                      <a:srgbClr val="424242"/>
                    </a:solidFill>
                    <a:effectLst/>
                    <a:latin typeface="gothic_l"/>
                  </a:rPr>
                  <a:t>안장점</a:t>
                </a:r>
                <a:r>
                  <a:rPr lang="en-US" altLang="ko-KR" b="0" i="0" dirty="0">
                    <a:solidFill>
                      <a:srgbClr val="424242"/>
                    </a:solidFill>
                    <a:effectLst/>
                    <a:latin typeface="gothic_l"/>
                  </a:rPr>
                  <a:t>(saddle point)</a:t>
                </a:r>
                <a:r>
                  <a:rPr lang="ko-KR" altLang="en-US" b="0" i="0" dirty="0">
                    <a:solidFill>
                      <a:srgbClr val="424242"/>
                    </a:solidFill>
                    <a:effectLst/>
                    <a:latin typeface="gothic_l"/>
                  </a:rPr>
                  <a:t>으로 나타나고 지역 최솟값은 매우 드물다</a:t>
                </a:r>
                <a:r>
                  <a:rPr lang="en-US" altLang="ko-KR" b="0" i="0" dirty="0">
                    <a:solidFill>
                      <a:srgbClr val="424242"/>
                    </a:solidFill>
                    <a:effectLst/>
                    <a:latin typeface="gothic_l"/>
                  </a:rPr>
                  <a:t>.</a:t>
                </a:r>
                <a:endParaRPr lang="ko-KR" altLang="en-US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7E238D8A-2617-475A-B4A5-C4F6936A2C8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3518" y="5229200"/>
                <a:ext cx="8676964" cy="1293624"/>
              </a:xfrm>
              <a:prstGeom prst="rect">
                <a:avLst/>
              </a:prstGeom>
              <a:blipFill>
                <a:blip r:embed="rId8"/>
                <a:stretch>
                  <a:fillRect l="-562" r="-140" b="-7075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687285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4.3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확률적 경사 </a:t>
            </a:r>
            <a:r>
              <a:rPr lang="ko-KR" altLang="en-US" sz="3000" dirty="0" err="1">
                <a:latin typeface="Sandoll 고딕Neo2유니 06 Bd" pitchFamily="34" charset="-127"/>
                <a:ea typeface="Sandoll 고딕Neo2유니 06 Bd" pitchFamily="34" charset="-127"/>
              </a:rPr>
              <a:t>하강법</a:t>
            </a:r>
            <a:endParaRPr lang="ko-KR" altLang="en-US" sz="3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5CFC7B7-EEC5-49EF-ABD5-E966FEC6CEA5}"/>
              </a:ext>
            </a:extLst>
          </p:cNvPr>
          <p:cNvSpPr txBox="1"/>
          <p:nvPr/>
        </p:nvSpPr>
        <p:spPr>
          <a:xfrm>
            <a:off x="611560" y="1988840"/>
            <a:ext cx="8208912" cy="18794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GD </a:t>
            </a:r>
            <a:r>
              <a:rPr lang="ko-KR" alt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변종</a:t>
            </a:r>
            <a:endParaRPr lang="en-US" altLang="ko-KR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ko-KR" altLang="en-US" sz="2000" dirty="0"/>
              <a:t>모멘텀을 사용한 </a:t>
            </a:r>
            <a:r>
              <a:rPr lang="en-US" altLang="ko-KR" sz="2000" dirty="0"/>
              <a:t>SGD, </a:t>
            </a:r>
            <a:r>
              <a:rPr lang="en-US" altLang="ko-KR" sz="2000" dirty="0" err="1"/>
              <a:t>Adagrad</a:t>
            </a:r>
            <a:r>
              <a:rPr lang="en-US" altLang="ko-KR" sz="2000" dirty="0"/>
              <a:t>, </a:t>
            </a:r>
            <a:r>
              <a:rPr lang="en-US" altLang="ko-KR" sz="2000" dirty="0" err="1"/>
              <a:t>RMSProp</a:t>
            </a:r>
            <a:r>
              <a:rPr lang="en-US" altLang="ko-KR" sz="2000" dirty="0"/>
              <a:t> </a:t>
            </a:r>
            <a:r>
              <a:rPr lang="ko-KR" altLang="en-US" sz="2000" dirty="0"/>
              <a:t>등</a:t>
            </a:r>
            <a:endParaRPr lang="en-US" altLang="ko-KR" sz="2000" dirty="0"/>
          </a:p>
          <a:p>
            <a:pPr>
              <a:lnSpc>
                <a:spcPct val="150000"/>
              </a:lnSpc>
            </a:pPr>
            <a:r>
              <a:rPr lang="en-US" altLang="ko-KR" sz="2000" dirty="0"/>
              <a:t>   &gt; </a:t>
            </a:r>
            <a:r>
              <a:rPr lang="ko-KR" altLang="en-US" sz="2000" dirty="0"/>
              <a:t>이런 변종들을 </a:t>
            </a:r>
            <a:r>
              <a:rPr lang="ko-KR" altLang="en-US" sz="2000" b="1" dirty="0"/>
              <a:t>최적화 방법</a:t>
            </a:r>
            <a:r>
              <a:rPr lang="en-US" altLang="ko-KR" sz="2000" b="1" dirty="0"/>
              <a:t>(optimization method)</a:t>
            </a:r>
            <a:r>
              <a:rPr lang="en-US" altLang="ko-KR" sz="2000" dirty="0"/>
              <a:t> </a:t>
            </a:r>
            <a:r>
              <a:rPr lang="ko-KR" altLang="en-US" sz="2000" dirty="0"/>
              <a:t>또는 </a:t>
            </a:r>
            <a:r>
              <a:rPr lang="ko-KR" altLang="en-US" sz="2000" b="1" dirty="0" err="1"/>
              <a:t>옵티마이저</a:t>
            </a:r>
            <a:r>
              <a:rPr lang="ko-KR" altLang="en-US" sz="2000" dirty="0" err="1"/>
              <a:t>라고</a:t>
            </a:r>
            <a:r>
              <a:rPr lang="ko-KR" altLang="en-US" sz="2000" dirty="0"/>
              <a:t> 부른다</a:t>
            </a:r>
            <a:r>
              <a:rPr lang="en-US" altLang="ko-KR" sz="2000" dirty="0"/>
              <a:t>.</a:t>
            </a:r>
            <a:endParaRPr lang="ko-KR" altLang="en-US" sz="2000" dirty="0"/>
          </a:p>
        </p:txBody>
      </p:sp>
    </p:spTree>
    <p:extLst>
      <p:ext uri="{BB962C8B-B14F-4D97-AF65-F5344CB8AC3E}">
        <p14:creationId xmlns:p14="http://schemas.microsoft.com/office/powerpoint/2010/main" val="4991799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34</TotalTime>
  <Words>1239</Words>
  <Application>Microsoft Office PowerPoint</Application>
  <PresentationFormat>화면 슬라이드 쇼(4:3)</PresentationFormat>
  <Paragraphs>130</Paragraphs>
  <Slides>17</Slides>
  <Notes>15</Notes>
  <HiddenSlides>0</HiddenSlides>
  <MMClips>0</MMClips>
  <ScaleCrop>false</ScaleCrop>
  <HeadingPairs>
    <vt:vector size="8" baseType="variant">
      <vt:variant>
        <vt:lpstr>사용한 글꼴</vt:lpstr>
      </vt:variant>
      <vt:variant>
        <vt:i4>14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7</vt:i4>
      </vt:variant>
    </vt:vector>
  </HeadingPairs>
  <TitlesOfParts>
    <vt:vector size="33" baseType="lpstr">
      <vt:lpstr>-apple-system</vt:lpstr>
      <vt:lpstr>Arial Unicode MS</vt:lpstr>
      <vt:lpstr>code</vt:lpstr>
      <vt:lpstr>gothic_l</vt:lpstr>
      <vt:lpstr>gothic_m</vt:lpstr>
      <vt:lpstr>MathJax_Main</vt:lpstr>
      <vt:lpstr>MathJax_Math-italic</vt:lpstr>
      <vt:lpstr>Sandoll 고딕Neo1유니코드 03 Lt</vt:lpstr>
      <vt:lpstr>Sandoll 고딕Neo2유니 06 Bd</vt:lpstr>
      <vt:lpstr>serif_l</vt:lpstr>
      <vt:lpstr>맑은 고딕</vt:lpstr>
      <vt:lpstr>Batang</vt:lpstr>
      <vt:lpstr>Arial</vt:lpstr>
      <vt:lpstr>Cambria Math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최서원</dc:creator>
  <cp:lastModifiedBy>수지</cp:lastModifiedBy>
  <cp:revision>42</cp:revision>
  <dcterms:created xsi:type="dcterms:W3CDTF">2020-01-14T01:52:45Z</dcterms:created>
  <dcterms:modified xsi:type="dcterms:W3CDTF">2021-01-25T09:03:55Z</dcterms:modified>
</cp:coreProperties>
</file>